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8" r:id="rId4"/>
    <p:sldMasterId id="2147483759" r:id="rId5"/>
    <p:sldMasterId id="2147483648" r:id="rId6"/>
  </p:sldMasterIdLst>
  <p:notesMasterIdLst>
    <p:notesMasterId r:id="rId22"/>
  </p:notesMasterIdLst>
  <p:handoutMasterIdLst>
    <p:handoutMasterId r:id="rId23"/>
  </p:handoutMasterIdLst>
  <p:sldIdLst>
    <p:sldId id="266" r:id="rId7"/>
    <p:sldId id="495" r:id="rId8"/>
    <p:sldId id="496" r:id="rId9"/>
    <p:sldId id="481" r:id="rId10"/>
    <p:sldId id="482" r:id="rId11"/>
    <p:sldId id="483" r:id="rId12"/>
    <p:sldId id="486" r:id="rId13"/>
    <p:sldId id="502" r:id="rId14"/>
    <p:sldId id="487" r:id="rId15"/>
    <p:sldId id="488" r:id="rId16"/>
    <p:sldId id="490" r:id="rId17"/>
    <p:sldId id="501" r:id="rId18"/>
    <p:sldId id="491" r:id="rId19"/>
    <p:sldId id="500" r:id="rId20"/>
    <p:sldId id="493" r:id="rId21"/>
  </p:sldIdLst>
  <p:sldSz cx="9144000" cy="5143500" type="screen16x9"/>
  <p:notesSz cx="6858000" cy="9144000"/>
  <p:custDataLst>
    <p:tags r:id="rId24"/>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23A05FC4-8AD8-4EE3-A5DA-0671E14F8E49}">
          <p14:sldIdLst>
            <p14:sldId id="266"/>
            <p14:sldId id="495"/>
            <p14:sldId id="496"/>
            <p14:sldId id="481"/>
            <p14:sldId id="482"/>
            <p14:sldId id="483"/>
            <p14:sldId id="486"/>
            <p14:sldId id="502"/>
            <p14:sldId id="487"/>
            <p14:sldId id="488"/>
            <p14:sldId id="490"/>
            <p14:sldId id="501"/>
            <p14:sldId id="491"/>
            <p14:sldId id="500"/>
            <p14:sldId id="493"/>
          </p14:sldIdLst>
        </p14:section>
        <p14:section name="Maps" id="{AD0BC48B-4078-4914-B0F3-35677CD1B6B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4E6A"/>
    <a:srgbClr val="E6E6E6"/>
    <a:srgbClr val="68658A"/>
    <a:srgbClr val="F5F5F4"/>
    <a:srgbClr val="890700"/>
    <a:srgbClr val="686A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56F232-7515-4C05-93FB-0563B975978D}" v="81" dt="2023-04-06T11:15:34.276"/>
    <p1510:client id="{3B06323C-DDF5-4EF8-9617-438937F524FA}" v="63" dt="2023-04-05T14:27:01.893"/>
    <p1510:client id="{9378051F-A908-47A5-A7BD-6791676D2DE9}" v="1" dt="2023-04-06T13:46:10.0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823" autoAdjust="0"/>
    <p:restoredTop sz="94660"/>
  </p:normalViewPr>
  <p:slideViewPr>
    <p:cSldViewPr snapToGrid="0">
      <p:cViewPr varScale="1">
        <p:scale>
          <a:sx n="144" d="100"/>
          <a:sy n="144" d="100"/>
        </p:scale>
        <p:origin x="588" y="120"/>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8" d="100"/>
          <a:sy n="78" d="100"/>
        </p:scale>
        <p:origin x="3939" y="3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o Etienne" userId="7aef99a0-ae51-466f-a6ce-27dd954f5eb5" providerId="ADAL" clId="{9378051F-A908-47A5-A7BD-6791676D2DE9}"/>
    <pc:docChg chg="custSel modSld">
      <pc:chgData name="Elio Etienne" userId="7aef99a0-ae51-466f-a6ce-27dd954f5eb5" providerId="ADAL" clId="{9378051F-A908-47A5-A7BD-6791676D2DE9}" dt="2023-04-06T13:46:17.626" v="28" actId="20577"/>
      <pc:docMkLst>
        <pc:docMk/>
      </pc:docMkLst>
      <pc:sldChg chg="delSp modSp mod">
        <pc:chgData name="Elio Etienne" userId="7aef99a0-ae51-466f-a6ce-27dd954f5eb5" providerId="ADAL" clId="{9378051F-A908-47A5-A7BD-6791676D2DE9}" dt="2023-04-06T13:45:49.254" v="12" actId="478"/>
        <pc:sldMkLst>
          <pc:docMk/>
          <pc:sldMk cId="1661002686" sldId="266"/>
        </pc:sldMkLst>
        <pc:spChg chg="del mod">
          <ac:chgData name="Elio Etienne" userId="7aef99a0-ae51-466f-a6ce-27dd954f5eb5" providerId="ADAL" clId="{9378051F-A908-47A5-A7BD-6791676D2DE9}" dt="2023-04-06T13:45:49.254" v="12" actId="478"/>
          <ac:spMkLst>
            <pc:docMk/>
            <pc:sldMk cId="1661002686" sldId="266"/>
            <ac:spMk id="3" creationId="{D5723D11-99D1-5F5C-0080-2E5BB0F2CC8B}"/>
          </ac:spMkLst>
        </pc:spChg>
        <pc:graphicFrameChg chg="del">
          <ac:chgData name="Elio Etienne" userId="7aef99a0-ae51-466f-a6ce-27dd954f5eb5" providerId="ADAL" clId="{9378051F-A908-47A5-A7BD-6791676D2DE9}" dt="2023-04-06T13:45:42.328" v="1" actId="478"/>
          <ac:graphicFrameMkLst>
            <pc:docMk/>
            <pc:sldMk cId="1661002686" sldId="266"/>
            <ac:graphicFrameMk id="5" creationId="{3490E5B6-586A-9C99-10C8-A80A4F1EBA35}"/>
          </ac:graphicFrameMkLst>
        </pc:graphicFrameChg>
      </pc:sldChg>
      <pc:sldChg chg="modSp mod">
        <pc:chgData name="Elio Etienne" userId="7aef99a0-ae51-466f-a6ce-27dd954f5eb5" providerId="ADAL" clId="{9378051F-A908-47A5-A7BD-6791676D2DE9}" dt="2023-04-06T13:46:17.626" v="28" actId="20577"/>
        <pc:sldMkLst>
          <pc:docMk/>
          <pc:sldMk cId="1414808513" sldId="501"/>
        </pc:sldMkLst>
        <pc:graphicFrameChg chg="mod modGraphic">
          <ac:chgData name="Elio Etienne" userId="7aef99a0-ae51-466f-a6ce-27dd954f5eb5" providerId="ADAL" clId="{9378051F-A908-47A5-A7BD-6791676D2DE9}" dt="2023-04-06T13:46:17.626" v="28" actId="20577"/>
          <ac:graphicFrameMkLst>
            <pc:docMk/>
            <pc:sldMk cId="1414808513" sldId="501"/>
            <ac:graphicFrameMk id="5" creationId="{A23C7DEE-C096-46FD-9F40-11A133D976FC}"/>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5BCE606-DCA9-4F59-977A-094316FC73D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umsplatzhalter 2">
            <a:extLst>
              <a:ext uri="{FF2B5EF4-FFF2-40B4-BE49-F238E27FC236}">
                <a16:creationId xmlns:a16="http://schemas.microsoft.com/office/drawing/2014/main" id="{C2703A71-20E7-4BB1-A198-05A625F86DA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BE44AEF-1B32-4BD6-A58A-238FFE4D1680}" type="datetimeFigureOut">
              <a:rPr lang="en-GB" smtClean="0"/>
              <a:t>06/04/2023</a:t>
            </a:fld>
            <a:endParaRPr lang="en-GB" dirty="0"/>
          </a:p>
        </p:txBody>
      </p:sp>
      <p:sp>
        <p:nvSpPr>
          <p:cNvPr id="4" name="Fußzeilenplatzhalter 3">
            <a:extLst>
              <a:ext uri="{FF2B5EF4-FFF2-40B4-BE49-F238E27FC236}">
                <a16:creationId xmlns:a16="http://schemas.microsoft.com/office/drawing/2014/main" id="{47119680-D37E-4D25-A037-4392049A073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Foliennummernplatzhalter 4">
            <a:extLst>
              <a:ext uri="{FF2B5EF4-FFF2-40B4-BE49-F238E27FC236}">
                <a16:creationId xmlns:a16="http://schemas.microsoft.com/office/drawing/2014/main" id="{0130F40A-0F28-4C9B-89C5-97372EA21F7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D7599F6-8842-47DA-B49B-295561D335F1}" type="slidenum">
              <a:rPr lang="en-GB" smtClean="0"/>
              <a:t>‹#›</a:t>
            </a:fld>
            <a:endParaRPr lang="en-GB" dirty="0"/>
          </a:p>
        </p:txBody>
      </p:sp>
    </p:spTree>
    <p:extLst>
      <p:ext uri="{BB962C8B-B14F-4D97-AF65-F5344CB8AC3E}">
        <p14:creationId xmlns:p14="http://schemas.microsoft.com/office/powerpoint/2010/main" val="35871366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E02093-5AB7-4141-AFAA-2DC55D58E5A7}" type="datetimeFigureOut">
              <a:rPr lang="en-GB" smtClean="0"/>
              <a:t>06/04/2023</a:t>
            </a:fld>
            <a:endParaRPr lang="en-GB"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8C3554-5277-4E95-A5A7-FA704CAE713A}" type="slidenum">
              <a:rPr lang="en-GB" smtClean="0"/>
              <a:t>‹#›</a:t>
            </a:fld>
            <a:endParaRPr lang="en-GB" dirty="0"/>
          </a:p>
        </p:txBody>
      </p:sp>
    </p:spTree>
    <p:extLst>
      <p:ext uri="{BB962C8B-B14F-4D97-AF65-F5344CB8AC3E}">
        <p14:creationId xmlns:p14="http://schemas.microsoft.com/office/powerpoint/2010/main" val="236993996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Master" Target="../slideMasters/slideMaster3.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image" Target="../media/image17.jp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1.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6.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1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6.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7.jpg"/><Relationship Id="rId1" Type="http://schemas.openxmlformats.org/officeDocument/2006/relationships/slideMaster" Target="../slideMasters/slideMaster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28.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jpg"/><Relationship Id="rId1" Type="http://schemas.openxmlformats.org/officeDocument/2006/relationships/slideMaster" Target="../slideMasters/slideMaster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6.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jpg"/><Relationship Id="rId1" Type="http://schemas.openxmlformats.org/officeDocument/2006/relationships/slideMaster" Target="../slideMasters/slideMaster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1.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800" y="4423578"/>
            <a:ext cx="1621656" cy="211223"/>
          </a:xfrm>
          <a:prstGeom prst="rect">
            <a:avLst/>
          </a:prstGeom>
        </p:spPr>
      </p:pic>
      <p:pic>
        <p:nvPicPr>
          <p:cNvPr id="14" name="Graphic 9">
            <a:extLst>
              <a:ext uri="{FF2B5EF4-FFF2-40B4-BE49-F238E27FC236}">
                <a16:creationId xmlns:a16="http://schemas.microsoft.com/office/drawing/2014/main" id="{211D252E-A012-487A-8355-D6C45AB066B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2" y="0"/>
            <a:ext cx="1311768" cy="660815"/>
          </a:xfrm>
          <a:prstGeom prst="rect">
            <a:avLst/>
          </a:prstGeom>
        </p:spPr>
      </p:pic>
    </p:spTree>
    <p:extLst>
      <p:ext uri="{BB962C8B-B14F-4D97-AF65-F5344CB8AC3E}">
        <p14:creationId xmlns:p14="http://schemas.microsoft.com/office/powerpoint/2010/main" val="415267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lide basketba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5" name="Fußzeilenplatzhalter 4">
            <a:extLst>
              <a:ext uri="{FF2B5EF4-FFF2-40B4-BE49-F238E27FC236}">
                <a16:creationId xmlns:a16="http://schemas.microsoft.com/office/drawing/2014/main" id="{BCF4A116-21F9-4F8E-A56E-C8BDEFAB0D48}"/>
              </a:ext>
            </a:extLst>
          </p:cNvPr>
          <p:cNvSpPr>
            <a:spLocks noGrp="1"/>
          </p:cNvSpPr>
          <p:nvPr>
            <p:ph type="ftr" sz="quarter" idx="13"/>
          </p:nvPr>
        </p:nvSpPr>
        <p:spPr/>
        <p:txBody>
          <a:bodyPr/>
          <a:lstStyle/>
          <a:p>
            <a:r>
              <a:rPr lang="en-GB"/>
              <a:t>#AllAboutSports</a:t>
            </a:r>
            <a:endParaRPr lang="en-GB" dirty="0"/>
          </a:p>
        </p:txBody>
      </p:sp>
    </p:spTree>
    <p:extLst>
      <p:ext uri="{BB962C8B-B14F-4D97-AF65-F5344CB8AC3E}">
        <p14:creationId xmlns:p14="http://schemas.microsoft.com/office/powerpoint/2010/main" val="23872245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 picture">
    <p:bg>
      <p:bgPr>
        <a:solidFill>
          <a:schemeClr val="bg1"/>
        </a:solidFill>
        <a:effectLst/>
      </p:bgPr>
    </p:bg>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1E66F6F5-4D9E-4945-A7DA-7DC28C840D5A}"/>
              </a:ext>
            </a:extLst>
          </p:cNvPr>
          <p:cNvSpPr>
            <a:spLocks noGrp="1"/>
          </p:cNvSpPr>
          <p:nvPr>
            <p:ph type="pic" sz="quarter" idx="13"/>
          </p:nvPr>
        </p:nvSpPr>
        <p:spPr>
          <a:xfrm>
            <a:off x="0" y="0"/>
            <a:ext cx="9144000" cy="5143500"/>
          </a:xfrm>
          <a:custGeom>
            <a:avLst/>
            <a:gdLst>
              <a:gd name="connsiteX0" fmla="*/ 900000 w 9144000"/>
              <a:gd name="connsiteY0" fmla="*/ 3667064 h 5143500"/>
              <a:gd name="connsiteX1" fmla="*/ 900000 w 9144000"/>
              <a:gd name="connsiteY1" fmla="*/ 3677864 h 5143500"/>
              <a:gd name="connsiteX2" fmla="*/ 3960000 w 9144000"/>
              <a:gd name="connsiteY2" fmla="*/ 3677864 h 5143500"/>
              <a:gd name="connsiteX3" fmla="*/ 3960000 w 9144000"/>
              <a:gd name="connsiteY3" fmla="*/ 3667064 h 5143500"/>
              <a:gd name="connsiteX4" fmla="*/ 0 w 9144000"/>
              <a:gd name="connsiteY4" fmla="*/ 0 h 5143500"/>
              <a:gd name="connsiteX5" fmla="*/ 8064149 w 9144000"/>
              <a:gd name="connsiteY5" fmla="*/ 0 h 5143500"/>
              <a:gd name="connsiteX6" fmla="*/ 8064149 w 9144000"/>
              <a:gd name="connsiteY6" fmla="*/ 381194 h 5143500"/>
              <a:gd name="connsiteX7" fmla="*/ 8820150 w 9144000"/>
              <a:gd name="connsiteY7" fmla="*/ 381194 h 5143500"/>
              <a:gd name="connsiteX8" fmla="*/ 8820150 w 9144000"/>
              <a:gd name="connsiteY8" fmla="*/ 0 h 5143500"/>
              <a:gd name="connsiteX9" fmla="*/ 9144000 w 9144000"/>
              <a:gd name="connsiteY9" fmla="*/ 0 h 5143500"/>
              <a:gd name="connsiteX10" fmla="*/ 9144000 w 9144000"/>
              <a:gd name="connsiteY10" fmla="*/ 5143500 h 5143500"/>
              <a:gd name="connsiteX11" fmla="*/ 0 w 91440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5143500">
                <a:moveTo>
                  <a:pt x="900000" y="3667064"/>
                </a:moveTo>
                <a:lnTo>
                  <a:pt x="900000" y="3677864"/>
                </a:lnTo>
                <a:lnTo>
                  <a:pt x="3960000" y="3677864"/>
                </a:lnTo>
                <a:lnTo>
                  <a:pt x="3960000" y="3667064"/>
                </a:lnTo>
                <a:close/>
                <a:moveTo>
                  <a:pt x="0" y="0"/>
                </a:moveTo>
                <a:lnTo>
                  <a:pt x="8064149" y="0"/>
                </a:lnTo>
                <a:lnTo>
                  <a:pt x="8064149" y="381194"/>
                </a:lnTo>
                <a:lnTo>
                  <a:pt x="8820150" y="381194"/>
                </a:lnTo>
                <a:lnTo>
                  <a:pt x="8820150" y="0"/>
                </a:lnTo>
                <a:lnTo>
                  <a:pt x="9144000" y="0"/>
                </a:lnTo>
                <a:lnTo>
                  <a:pt x="9144000" y="5143500"/>
                </a:lnTo>
                <a:lnTo>
                  <a:pt x="0" y="5143500"/>
                </a:lnTo>
                <a:close/>
              </a:path>
            </a:pathLst>
          </a:custGeom>
        </p:spPr>
        <p:txBody>
          <a:bodyPr wrap="square" tIns="162000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10" name="Freeform 9">
            <a:extLst>
              <a:ext uri="{FF2B5EF4-FFF2-40B4-BE49-F238E27FC236}">
                <a16:creationId xmlns:a16="http://schemas.microsoft.com/office/drawing/2014/main" id="{39B4D0CC-148C-8748-9671-FB860445D5C2}"/>
              </a:ext>
            </a:extLst>
          </p:cNvPr>
          <p:cNvSpPr>
            <a:spLocks noGrp="1"/>
          </p:cNvSpPr>
          <p:nvPr>
            <p:ph type="ctrTitle" hasCustomPrompt="1"/>
          </p:nvPr>
        </p:nvSpPr>
        <p:spPr>
          <a:xfrm>
            <a:off x="0" y="0"/>
            <a:ext cx="9144000" cy="5143500"/>
          </a:xfrm>
          <a:custGeom>
            <a:avLst/>
            <a:gdLst>
              <a:gd name="connsiteX0" fmla="*/ 0 w 9144000"/>
              <a:gd name="connsiteY0" fmla="*/ 0 h 5143500"/>
              <a:gd name="connsiteX1" fmla="*/ 8064500 w 9144000"/>
              <a:gd name="connsiteY1" fmla="*/ 0 h 5143500"/>
              <a:gd name="connsiteX2" fmla="*/ 8064500 w 9144000"/>
              <a:gd name="connsiteY2" fmla="*/ 381000 h 5143500"/>
              <a:gd name="connsiteX3" fmla="*/ 8820150 w 9144000"/>
              <a:gd name="connsiteY3" fmla="*/ 381000 h 5143500"/>
              <a:gd name="connsiteX4" fmla="*/ 8820150 w 9144000"/>
              <a:gd name="connsiteY4" fmla="*/ 0 h 5143500"/>
              <a:gd name="connsiteX5" fmla="*/ 9144000 w 9144000"/>
              <a:gd name="connsiteY5" fmla="*/ 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8064500" y="0"/>
                </a:lnTo>
                <a:lnTo>
                  <a:pt x="8064500" y="381000"/>
                </a:lnTo>
                <a:lnTo>
                  <a:pt x="8820150" y="381000"/>
                </a:lnTo>
                <a:lnTo>
                  <a:pt x="8820150" y="0"/>
                </a:lnTo>
                <a:lnTo>
                  <a:pt x="9144000" y="0"/>
                </a:lnTo>
                <a:lnTo>
                  <a:pt x="9144000" y="5143500"/>
                </a:lnTo>
                <a:lnTo>
                  <a:pt x="0" y="5143500"/>
                </a:lnTo>
                <a:close/>
              </a:path>
            </a:pathLst>
          </a:custGeom>
          <a:solidFill>
            <a:schemeClr val="tx1">
              <a:alpha val="50000"/>
            </a:schemeClr>
          </a:solidFill>
        </p:spPr>
        <p:txBody>
          <a:bodyPr wrap="square" lIns="900000" bIns="1655999" anchor="b" anchorCtr="0">
            <a:noAutofit/>
          </a:bodyPr>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3060000" cy="764084"/>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pic>
        <p:nvPicPr>
          <p:cNvPr id="8" name="Grafik 7">
            <a:extLst>
              <a:ext uri="{FF2B5EF4-FFF2-40B4-BE49-F238E27FC236}">
                <a16:creationId xmlns:a16="http://schemas.microsoft.com/office/drawing/2014/main" id="{1C06BA5D-848A-4C7A-A7B6-6F81946E88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233C69DC-BDF0-45D4-B8DA-E6D052137036}"/>
              </a:ext>
            </a:extLst>
          </p:cNvPr>
          <p:cNvSpPr>
            <a:spLocks noGrp="1"/>
          </p:cNvSpPr>
          <p:nvPr>
            <p:ph type="ftr" sz="quarter" idx="14"/>
          </p:nvPr>
        </p:nvSpPr>
        <p:spPr/>
        <p:txBody>
          <a:bodyPr/>
          <a:lstStyle>
            <a:lvl1pPr>
              <a:defRPr>
                <a:solidFill>
                  <a:schemeClr val="bg1"/>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2844107320"/>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Divider slide handball">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768C3A5-829E-4E85-87FD-4A7F23DC5F02}"/>
              </a:ext>
            </a:extLst>
          </p:cNvPr>
          <p:cNvGraphicFramePr>
            <a:graphicFrameLocks noChangeAspect="1"/>
          </p:cNvGraphicFramePr>
          <p:nvPr userDrawn="1">
            <p:custDataLst>
              <p:tags r:id="rId1"/>
            </p:custDataLst>
            <p:extLst>
              <p:ext uri="{D42A27DB-BD31-4B8C-83A1-F6EECF244321}">
                <p14:modId xmlns:p14="http://schemas.microsoft.com/office/powerpoint/2010/main" val="2472202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C768C3A5-829E-4E85-87FD-4A7F23DC5F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1A04EA4-A422-4456-AC5E-97FE1C939A31}"/>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3800"/>
              </a:lnSpc>
              <a:spcBef>
                <a:spcPct val="0"/>
              </a:spcBef>
              <a:spcAft>
                <a:spcPct val="0"/>
              </a:spcAft>
            </a:pPr>
            <a:endParaRPr lang="en-US" sz="3800" b="1" i="0" baseline="0" dirty="0">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FFF23BDC-67BB-4BFF-B665-B7D1A2BBBBB7}"/>
              </a:ext>
            </a:extLst>
          </p:cNvPr>
          <p:cNvSpPr/>
          <p:nvPr userDrawn="1"/>
        </p:nvSpPr>
        <p:spPr>
          <a:xfrm>
            <a:off x="0" y="0"/>
            <a:ext cx="9144000" cy="51435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CH"/>
          </a:p>
        </p:txBody>
      </p:sp>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solidFill>
                  <a:schemeClr val="bg2"/>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87B8C3FC-D8C9-42C2-8756-76C78A8C6080}"/>
              </a:ext>
            </a:extLst>
          </p:cNvPr>
          <p:cNvSpPr>
            <a:spLocks noGrp="1"/>
          </p:cNvSpPr>
          <p:nvPr>
            <p:ph type="ftr" sz="quarter" idx="10"/>
          </p:nvPr>
        </p:nvSpPr>
        <p:spPr/>
        <p:txBody>
          <a:bodyPr/>
          <a:lstStyle>
            <a:lvl1pPr>
              <a:defRPr>
                <a:solidFill>
                  <a:schemeClr val="bg2"/>
                </a:solidFill>
              </a:defRPr>
            </a:lvl1pPr>
          </a:lstStyle>
          <a:p>
            <a:r>
              <a:rPr lang="en-GB"/>
              <a:t>#AllAboutSports</a:t>
            </a:r>
            <a:endParaRPr lang="en-GB" dirty="0"/>
          </a:p>
        </p:txBody>
      </p:sp>
    </p:spTree>
    <p:extLst>
      <p:ext uri="{BB962C8B-B14F-4D97-AF65-F5344CB8AC3E}">
        <p14:creationId xmlns:p14="http://schemas.microsoft.com/office/powerpoint/2010/main" val="15590928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8" name="Textplatzhalter 4">
            <a:extLst>
              <a:ext uri="{FF2B5EF4-FFF2-40B4-BE49-F238E27FC236}">
                <a16:creationId xmlns:a16="http://schemas.microsoft.com/office/drawing/2014/main" id="{2B33EF26-1410-4B9C-8F63-392E063629B5}"/>
              </a:ext>
            </a:extLst>
          </p:cNvPr>
          <p:cNvSpPr>
            <a:spLocks noGrp="1"/>
          </p:cNvSpPr>
          <p:nvPr>
            <p:ph type="body" sz="quarter" idx="22" hasCustomPrompt="1"/>
          </p:nvPr>
        </p:nvSpPr>
        <p:spPr>
          <a:xfrm>
            <a:off x="675853" y="4087025"/>
            <a:ext cx="334800" cy="316800"/>
          </a:xfrm>
          <a:prstGeom prst="pentagon">
            <a:avLst/>
          </a:prstGeom>
          <a:solidFill>
            <a:schemeClr val="accent1"/>
          </a:solidFill>
        </p:spPr>
        <p:txBody>
          <a:bodyPr tIns="0" bIns="0"/>
          <a:lstStyle>
            <a:lvl1pPr algn="ctr">
              <a:defRPr sz="1200" b="1">
                <a:solidFill>
                  <a:schemeClr val="bg1"/>
                </a:solidFill>
              </a:defRPr>
            </a:lvl1pPr>
          </a:lstStyle>
          <a:p>
            <a:pPr lvl="0"/>
            <a:r>
              <a:rPr lang="de-DE" dirty="0"/>
              <a:t>05</a:t>
            </a:r>
            <a:endParaRPr lang="en-GB" dirty="0"/>
          </a:p>
        </p:txBody>
      </p:sp>
      <p:sp>
        <p:nvSpPr>
          <p:cNvPr id="27" name="Textplatzhalter 4">
            <a:extLst>
              <a:ext uri="{FF2B5EF4-FFF2-40B4-BE49-F238E27FC236}">
                <a16:creationId xmlns:a16="http://schemas.microsoft.com/office/drawing/2014/main" id="{AFB33BA1-9E6F-435F-A081-5CE2E6B49C49}"/>
              </a:ext>
            </a:extLst>
          </p:cNvPr>
          <p:cNvSpPr>
            <a:spLocks noGrp="1"/>
          </p:cNvSpPr>
          <p:nvPr>
            <p:ph type="body" sz="quarter" idx="21" hasCustomPrompt="1"/>
          </p:nvPr>
        </p:nvSpPr>
        <p:spPr>
          <a:xfrm>
            <a:off x="872544" y="3443630"/>
            <a:ext cx="334800" cy="316800"/>
          </a:xfrm>
          <a:prstGeom prst="pentagon">
            <a:avLst/>
          </a:prstGeom>
          <a:solidFill>
            <a:schemeClr val="accent6"/>
          </a:solidFill>
        </p:spPr>
        <p:txBody>
          <a:bodyPr tIns="0" bIns="0"/>
          <a:lstStyle>
            <a:lvl1pPr algn="ctr">
              <a:defRPr sz="1200" b="1">
                <a:solidFill>
                  <a:schemeClr val="bg1"/>
                </a:solidFill>
              </a:defRPr>
            </a:lvl1pPr>
          </a:lstStyle>
          <a:p>
            <a:pPr lvl="0"/>
            <a:r>
              <a:rPr lang="de-DE" dirty="0"/>
              <a:t>04</a:t>
            </a:r>
            <a:endParaRPr lang="en-GB" dirty="0"/>
          </a:p>
        </p:txBody>
      </p:sp>
      <p:sp>
        <p:nvSpPr>
          <p:cNvPr id="26" name="Textplatzhalter 4">
            <a:extLst>
              <a:ext uri="{FF2B5EF4-FFF2-40B4-BE49-F238E27FC236}">
                <a16:creationId xmlns:a16="http://schemas.microsoft.com/office/drawing/2014/main" id="{082E1592-7502-4F23-B40B-F643BD36105F}"/>
              </a:ext>
            </a:extLst>
          </p:cNvPr>
          <p:cNvSpPr>
            <a:spLocks noGrp="1"/>
          </p:cNvSpPr>
          <p:nvPr>
            <p:ph type="body" sz="quarter" idx="20" hasCustomPrompt="1"/>
          </p:nvPr>
        </p:nvSpPr>
        <p:spPr>
          <a:xfrm>
            <a:off x="1084703" y="2800942"/>
            <a:ext cx="334800" cy="316800"/>
          </a:xfrm>
          <a:prstGeom prst="pentagon">
            <a:avLst/>
          </a:prstGeom>
          <a:solidFill>
            <a:schemeClr val="accent5"/>
          </a:solidFill>
        </p:spPr>
        <p:txBody>
          <a:bodyPr tIns="0" bIns="0"/>
          <a:lstStyle>
            <a:lvl1pPr algn="ctr">
              <a:defRPr sz="1200" b="1">
                <a:solidFill>
                  <a:schemeClr val="bg1"/>
                </a:solidFill>
              </a:defRPr>
            </a:lvl1pPr>
          </a:lstStyle>
          <a:p>
            <a:pPr lvl="0"/>
            <a:r>
              <a:rPr lang="de-DE" dirty="0"/>
              <a:t>03</a:t>
            </a:r>
            <a:endParaRPr lang="en-GB" dirty="0"/>
          </a:p>
        </p:txBody>
      </p:sp>
      <p:sp>
        <p:nvSpPr>
          <p:cNvPr id="25" name="Textplatzhalter 4">
            <a:extLst>
              <a:ext uri="{FF2B5EF4-FFF2-40B4-BE49-F238E27FC236}">
                <a16:creationId xmlns:a16="http://schemas.microsoft.com/office/drawing/2014/main" id="{EBFED22F-2186-4B3E-9162-EE2EEC8E526A}"/>
              </a:ext>
            </a:extLst>
          </p:cNvPr>
          <p:cNvSpPr>
            <a:spLocks noGrp="1"/>
          </p:cNvSpPr>
          <p:nvPr>
            <p:ph type="body" sz="quarter" idx="19" hasCustomPrompt="1"/>
          </p:nvPr>
        </p:nvSpPr>
        <p:spPr>
          <a:xfrm>
            <a:off x="1288453" y="2166717"/>
            <a:ext cx="334800" cy="316800"/>
          </a:xfrm>
          <a:prstGeom prst="pentagon">
            <a:avLst/>
          </a:prstGeom>
          <a:solidFill>
            <a:srgbClr val="BAD1D7"/>
          </a:solidFill>
        </p:spPr>
        <p:txBody>
          <a:bodyPr tIns="0" bIns="0"/>
          <a:lstStyle>
            <a:lvl1pPr algn="ctr">
              <a:defRPr sz="1200" b="1">
                <a:solidFill>
                  <a:schemeClr val="bg1"/>
                </a:solidFill>
              </a:defRPr>
            </a:lvl1pPr>
          </a:lstStyle>
          <a:p>
            <a:pPr lvl="0"/>
            <a:r>
              <a:rPr lang="de-DE" dirty="0"/>
              <a:t>02</a:t>
            </a:r>
            <a:endParaRPr lang="en-GB" dirty="0"/>
          </a:p>
        </p:txBody>
      </p:sp>
      <p:sp>
        <p:nvSpPr>
          <p:cNvPr id="20" name="Textplatzhalter 4">
            <a:extLst>
              <a:ext uri="{FF2B5EF4-FFF2-40B4-BE49-F238E27FC236}">
                <a16:creationId xmlns:a16="http://schemas.microsoft.com/office/drawing/2014/main" id="{B349B7AA-32C0-4C2C-8D1E-04D1FB638717}"/>
              </a:ext>
            </a:extLst>
          </p:cNvPr>
          <p:cNvSpPr>
            <a:spLocks noGrp="1"/>
          </p:cNvSpPr>
          <p:nvPr>
            <p:ph type="body" sz="quarter" idx="18" hasCustomPrompt="1"/>
          </p:nvPr>
        </p:nvSpPr>
        <p:spPr>
          <a:xfrm>
            <a:off x="1493553" y="1528266"/>
            <a:ext cx="334800" cy="316800"/>
          </a:xfrm>
          <a:prstGeom prst="pentagon">
            <a:avLst/>
          </a:prstGeom>
          <a:solidFill>
            <a:schemeClr val="accent2"/>
          </a:solidFill>
        </p:spPr>
        <p:txBody>
          <a:bodyPr tIns="0" bIns="0"/>
          <a:lstStyle>
            <a:lvl1pPr algn="ctr">
              <a:defRPr sz="1200" b="1">
                <a:solidFill>
                  <a:schemeClr val="bg1"/>
                </a:solidFill>
              </a:defRPr>
            </a:lvl1pPr>
          </a:lstStyle>
          <a:p>
            <a:pPr lvl="0"/>
            <a:r>
              <a:rPr lang="de-DE" dirty="0"/>
              <a:t>01</a:t>
            </a:r>
            <a:endParaRPr lang="en-GB" dirty="0"/>
          </a:p>
        </p:txBody>
      </p:sp>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Textplatzhalter 4">
            <a:extLst>
              <a:ext uri="{FF2B5EF4-FFF2-40B4-BE49-F238E27FC236}">
                <a16:creationId xmlns:a16="http://schemas.microsoft.com/office/drawing/2014/main" id="{11FC6D27-B26A-4B4E-852D-AF0070914F0C}"/>
              </a:ext>
            </a:extLst>
          </p:cNvPr>
          <p:cNvSpPr>
            <a:spLocks noGrp="1"/>
          </p:cNvSpPr>
          <p:nvPr>
            <p:ph type="body" sz="quarter" idx="13" hasCustomPrompt="1"/>
          </p:nvPr>
        </p:nvSpPr>
        <p:spPr>
          <a:xfrm>
            <a:off x="1960044" y="1526853"/>
            <a:ext cx="2880000" cy="318214"/>
          </a:xfrm>
          <a:prstGeom prst="rect">
            <a:avLst/>
          </a:prstGeom>
        </p:spPr>
        <p:txBody>
          <a:bodyPr anchor="b" anchorCtr="0"/>
          <a:lstStyle>
            <a:lvl1pPr>
              <a:defRPr sz="1400" b="1"/>
            </a:lvl1pPr>
          </a:lstStyle>
          <a:p>
            <a:pPr lvl="0"/>
            <a:r>
              <a:rPr lang="en-US" noProof="0" dirty="0"/>
              <a:t>Agenda point one</a:t>
            </a:r>
          </a:p>
        </p:txBody>
      </p:sp>
      <p:sp>
        <p:nvSpPr>
          <p:cNvPr id="21" name="Textplatzhalter 4">
            <a:extLst>
              <a:ext uri="{FF2B5EF4-FFF2-40B4-BE49-F238E27FC236}">
                <a16:creationId xmlns:a16="http://schemas.microsoft.com/office/drawing/2014/main" id="{757D00F4-4310-474C-94B7-8F7FA05831A6}"/>
              </a:ext>
            </a:extLst>
          </p:cNvPr>
          <p:cNvSpPr>
            <a:spLocks noGrp="1"/>
          </p:cNvSpPr>
          <p:nvPr>
            <p:ph type="body" sz="quarter" idx="14" hasCustomPrompt="1"/>
          </p:nvPr>
        </p:nvSpPr>
        <p:spPr>
          <a:xfrm>
            <a:off x="1764837" y="2166720"/>
            <a:ext cx="2880000" cy="318214"/>
          </a:xfrm>
          <a:prstGeom prst="rect">
            <a:avLst/>
          </a:prstGeom>
        </p:spPr>
        <p:txBody>
          <a:bodyPr anchor="b" anchorCtr="0"/>
          <a:lstStyle>
            <a:lvl1pPr>
              <a:defRPr sz="1400" b="1"/>
            </a:lvl1pPr>
          </a:lstStyle>
          <a:p>
            <a:pPr lvl="0"/>
            <a:r>
              <a:rPr lang="en-US" noProof="0" dirty="0"/>
              <a:t>Agenda point two</a:t>
            </a:r>
          </a:p>
        </p:txBody>
      </p:sp>
      <p:sp>
        <p:nvSpPr>
          <p:cNvPr id="22" name="Textplatzhalter 4">
            <a:extLst>
              <a:ext uri="{FF2B5EF4-FFF2-40B4-BE49-F238E27FC236}">
                <a16:creationId xmlns:a16="http://schemas.microsoft.com/office/drawing/2014/main" id="{9685688B-0B10-4DCA-890A-677C372AF48B}"/>
              </a:ext>
            </a:extLst>
          </p:cNvPr>
          <p:cNvSpPr>
            <a:spLocks noGrp="1"/>
          </p:cNvSpPr>
          <p:nvPr>
            <p:ph type="body" sz="quarter" idx="15" hasCustomPrompt="1"/>
          </p:nvPr>
        </p:nvSpPr>
        <p:spPr>
          <a:xfrm>
            <a:off x="1560412" y="2806586"/>
            <a:ext cx="2880000" cy="318214"/>
          </a:xfrm>
          <a:prstGeom prst="rect">
            <a:avLst/>
          </a:prstGeom>
        </p:spPr>
        <p:txBody>
          <a:bodyPr anchor="b" anchorCtr="0"/>
          <a:lstStyle>
            <a:lvl1pPr>
              <a:defRPr sz="1400" b="1"/>
            </a:lvl1pPr>
          </a:lstStyle>
          <a:p>
            <a:pPr lvl="0"/>
            <a:r>
              <a:rPr lang="en-US" noProof="0" dirty="0"/>
              <a:t>Agenda point three</a:t>
            </a:r>
          </a:p>
        </p:txBody>
      </p:sp>
      <p:sp>
        <p:nvSpPr>
          <p:cNvPr id="23" name="Textplatzhalter 4">
            <a:extLst>
              <a:ext uri="{FF2B5EF4-FFF2-40B4-BE49-F238E27FC236}">
                <a16:creationId xmlns:a16="http://schemas.microsoft.com/office/drawing/2014/main" id="{058DD13B-7C02-47C6-9927-78B109405A8C}"/>
              </a:ext>
            </a:extLst>
          </p:cNvPr>
          <p:cNvSpPr>
            <a:spLocks noGrp="1"/>
          </p:cNvSpPr>
          <p:nvPr>
            <p:ph type="body" sz="quarter" idx="16" hasCustomPrompt="1"/>
          </p:nvPr>
        </p:nvSpPr>
        <p:spPr>
          <a:xfrm>
            <a:off x="1355987" y="3446452"/>
            <a:ext cx="2880000" cy="318214"/>
          </a:xfrm>
          <a:prstGeom prst="rect">
            <a:avLst/>
          </a:prstGeom>
        </p:spPr>
        <p:txBody>
          <a:bodyPr anchor="b" anchorCtr="0"/>
          <a:lstStyle>
            <a:lvl1pPr>
              <a:defRPr sz="1400" b="1"/>
            </a:lvl1pPr>
          </a:lstStyle>
          <a:p>
            <a:pPr lvl="0"/>
            <a:r>
              <a:rPr lang="en-US" noProof="0" dirty="0"/>
              <a:t>Agenda point four</a:t>
            </a:r>
          </a:p>
        </p:txBody>
      </p:sp>
      <p:sp>
        <p:nvSpPr>
          <p:cNvPr id="24" name="Textplatzhalter 4">
            <a:extLst>
              <a:ext uri="{FF2B5EF4-FFF2-40B4-BE49-F238E27FC236}">
                <a16:creationId xmlns:a16="http://schemas.microsoft.com/office/drawing/2014/main" id="{D2BD567D-0FA9-4DC1-92E1-988F9E0AFE04}"/>
              </a:ext>
            </a:extLst>
          </p:cNvPr>
          <p:cNvSpPr>
            <a:spLocks noGrp="1"/>
          </p:cNvSpPr>
          <p:nvPr>
            <p:ph type="body" sz="quarter" idx="17" hasCustomPrompt="1"/>
          </p:nvPr>
        </p:nvSpPr>
        <p:spPr>
          <a:xfrm>
            <a:off x="1151562" y="4086318"/>
            <a:ext cx="2880000" cy="318214"/>
          </a:xfrm>
          <a:prstGeom prst="rect">
            <a:avLst/>
          </a:prstGeom>
        </p:spPr>
        <p:txBody>
          <a:bodyPr anchor="b" anchorCtr="0"/>
          <a:lstStyle>
            <a:lvl1pPr>
              <a:defRPr sz="1400" b="1"/>
            </a:lvl1pPr>
          </a:lstStyle>
          <a:p>
            <a:pPr lvl="0"/>
            <a:r>
              <a:rPr lang="en-US" noProof="0" dirty="0"/>
              <a:t>Agenda point five</a:t>
            </a:r>
          </a:p>
        </p:txBody>
      </p:sp>
      <p:sp>
        <p:nvSpPr>
          <p:cNvPr id="3" name="Fußzeilenplatzhalter 2">
            <a:extLst>
              <a:ext uri="{FF2B5EF4-FFF2-40B4-BE49-F238E27FC236}">
                <a16:creationId xmlns:a16="http://schemas.microsoft.com/office/drawing/2014/main" id="{2DB576C8-DABC-418E-AA98-2F51F9D17A5B}"/>
              </a:ext>
            </a:extLst>
          </p:cNvPr>
          <p:cNvSpPr>
            <a:spLocks noGrp="1"/>
          </p:cNvSpPr>
          <p:nvPr>
            <p:ph type="ftr" sz="quarter" idx="23"/>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8370776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picture">
    <p:bg>
      <p:bgPr>
        <a:solidFill>
          <a:schemeClr val="bg1"/>
        </a:solidFill>
        <a:effectLst/>
      </p:bgPr>
    </p:bg>
    <p:spTree>
      <p:nvGrpSpPr>
        <p:cNvPr id="1" name=""/>
        <p:cNvGrpSpPr/>
        <p:nvPr/>
      </p:nvGrpSpPr>
      <p:grpSpPr>
        <a:xfrm>
          <a:off x="0" y="0"/>
          <a:ext cx="0" cy="0"/>
          <a:chOff x="0" y="0"/>
          <a:chExt cx="0" cy="0"/>
        </a:xfrm>
      </p:grpSpPr>
      <p:sp>
        <p:nvSpPr>
          <p:cNvPr id="19" name="Bildplatzhalter 3">
            <a:extLst>
              <a:ext uri="{FF2B5EF4-FFF2-40B4-BE49-F238E27FC236}">
                <a16:creationId xmlns:a16="http://schemas.microsoft.com/office/drawing/2014/main" id="{68FFB613-8738-47E7-989F-B26C1AE2FB9C}"/>
              </a:ext>
            </a:extLst>
          </p:cNvPr>
          <p:cNvSpPr>
            <a:spLocks noGrp="1"/>
          </p:cNvSpPr>
          <p:nvPr>
            <p:ph type="pic" sz="quarter" idx="17" hasCustomPrompt="1"/>
          </p:nvPr>
        </p:nvSpPr>
        <p:spPr>
          <a:xfrm>
            <a:off x="-1784" y="-6594"/>
            <a:ext cx="4297024" cy="5152292"/>
          </a:xfrm>
          <a:custGeom>
            <a:avLst/>
            <a:gdLst>
              <a:gd name="connsiteX0" fmla="*/ 714789 w 4288646"/>
              <a:gd name="connsiteY0" fmla="*/ 0 h 5143500"/>
              <a:gd name="connsiteX1" fmla="*/ 3573857 w 4288646"/>
              <a:gd name="connsiteY1" fmla="*/ 0 h 5143500"/>
              <a:gd name="connsiteX2" fmla="*/ 4288646 w 4288646"/>
              <a:gd name="connsiteY2" fmla="*/ 714789 h 5143500"/>
              <a:gd name="connsiteX3" fmla="*/ 4288646 w 4288646"/>
              <a:gd name="connsiteY3" fmla="*/ 5143500 h 5143500"/>
              <a:gd name="connsiteX4" fmla="*/ 4288646 w 4288646"/>
              <a:gd name="connsiteY4" fmla="*/ 5143500 h 5143500"/>
              <a:gd name="connsiteX5" fmla="*/ 0 w 4288646"/>
              <a:gd name="connsiteY5" fmla="*/ 5143500 h 5143500"/>
              <a:gd name="connsiteX6" fmla="*/ 0 w 4288646"/>
              <a:gd name="connsiteY6" fmla="*/ 5143500 h 5143500"/>
              <a:gd name="connsiteX7" fmla="*/ 0 w 4288646"/>
              <a:gd name="connsiteY7" fmla="*/ 714789 h 5143500"/>
              <a:gd name="connsiteX8" fmla="*/ 714789 w 4288646"/>
              <a:gd name="connsiteY8" fmla="*/ 0 h 5143500"/>
              <a:gd name="connsiteX0" fmla="*/ 714789 w 4288646"/>
              <a:gd name="connsiteY0" fmla="*/ 0 h 5145698"/>
              <a:gd name="connsiteX1" fmla="*/ 3573857 w 4288646"/>
              <a:gd name="connsiteY1" fmla="*/ 0 h 5145698"/>
              <a:gd name="connsiteX2" fmla="*/ 4288646 w 4288646"/>
              <a:gd name="connsiteY2" fmla="*/ 714789 h 5145698"/>
              <a:gd name="connsiteX3" fmla="*/ 4288646 w 4288646"/>
              <a:gd name="connsiteY3" fmla="*/ 5143500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576469 w 4288646"/>
              <a:gd name="connsiteY3" fmla="*/ 4908306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097289 w 4288646"/>
              <a:gd name="connsiteY3" fmla="*/ 4890721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266540 w 4288646"/>
              <a:gd name="connsiteY3" fmla="*/ 3020158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95240"/>
              <a:gd name="connsiteY0" fmla="*/ 0 h 5145698"/>
              <a:gd name="connsiteX1" fmla="*/ 3573857 w 4295240"/>
              <a:gd name="connsiteY1" fmla="*/ 0 h 5145698"/>
              <a:gd name="connsiteX2" fmla="*/ 4295240 w 4295240"/>
              <a:gd name="connsiteY2" fmla="*/ 414 h 5145698"/>
              <a:gd name="connsiteX3" fmla="*/ 3266540 w 4295240"/>
              <a:gd name="connsiteY3" fmla="*/ 3020158 h 5145698"/>
              <a:gd name="connsiteX4" fmla="*/ 2534580 w 4295240"/>
              <a:gd name="connsiteY4" fmla="*/ 5145698 h 5145698"/>
              <a:gd name="connsiteX5" fmla="*/ 0 w 4295240"/>
              <a:gd name="connsiteY5" fmla="*/ 5143500 h 5145698"/>
              <a:gd name="connsiteX6" fmla="*/ 0 w 4295240"/>
              <a:gd name="connsiteY6" fmla="*/ 5143500 h 5145698"/>
              <a:gd name="connsiteX7" fmla="*/ 0 w 4295240"/>
              <a:gd name="connsiteY7" fmla="*/ 714789 h 5145698"/>
              <a:gd name="connsiteX8" fmla="*/ 714789 w 4295240"/>
              <a:gd name="connsiteY8" fmla="*/ 0 h 5145698"/>
              <a:gd name="connsiteX0" fmla="*/ 0 w 4297024"/>
              <a:gd name="connsiteY0" fmla="*/ 0 h 5152292"/>
              <a:gd name="connsiteX1" fmla="*/ 3575641 w 4297024"/>
              <a:gd name="connsiteY1" fmla="*/ 6594 h 5152292"/>
              <a:gd name="connsiteX2" fmla="*/ 4297024 w 4297024"/>
              <a:gd name="connsiteY2" fmla="*/ 7008 h 5152292"/>
              <a:gd name="connsiteX3" fmla="*/ 3268324 w 4297024"/>
              <a:gd name="connsiteY3" fmla="*/ 3026752 h 5152292"/>
              <a:gd name="connsiteX4" fmla="*/ 2536364 w 4297024"/>
              <a:gd name="connsiteY4" fmla="*/ 5152292 h 5152292"/>
              <a:gd name="connsiteX5" fmla="*/ 1784 w 4297024"/>
              <a:gd name="connsiteY5" fmla="*/ 5150094 h 5152292"/>
              <a:gd name="connsiteX6" fmla="*/ 1784 w 4297024"/>
              <a:gd name="connsiteY6" fmla="*/ 5150094 h 5152292"/>
              <a:gd name="connsiteX7" fmla="*/ 1784 w 4297024"/>
              <a:gd name="connsiteY7" fmla="*/ 721383 h 5152292"/>
              <a:gd name="connsiteX8" fmla="*/ 0 w 4297024"/>
              <a:gd name="connsiteY8" fmla="*/ 0 h 51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7024" h="5152292">
                <a:moveTo>
                  <a:pt x="0" y="0"/>
                </a:moveTo>
                <a:lnTo>
                  <a:pt x="3575641" y="6594"/>
                </a:lnTo>
                <a:lnTo>
                  <a:pt x="4297024" y="7008"/>
                </a:lnTo>
                <a:lnTo>
                  <a:pt x="3268324" y="3026752"/>
                </a:lnTo>
                <a:lnTo>
                  <a:pt x="2536364" y="5152292"/>
                </a:lnTo>
                <a:lnTo>
                  <a:pt x="1784" y="5150094"/>
                </a:lnTo>
                <a:lnTo>
                  <a:pt x="1784" y="5150094"/>
                </a:lnTo>
                <a:lnTo>
                  <a:pt x="1784" y="721383"/>
                </a:lnTo>
                <a:cubicBezTo>
                  <a:pt x="1189" y="480922"/>
                  <a:pt x="595" y="240461"/>
                  <a:pt x="0" y="0"/>
                </a:cubicBezTo>
                <a:close/>
              </a:path>
            </a:pathLst>
          </a:custGeom>
          <a:ln>
            <a:noFill/>
          </a:ln>
        </p:spPr>
        <p:txBody>
          <a:bodyPr tIns="1980000"/>
          <a:lstStyle>
            <a:lvl1pPr algn="ctr">
              <a:defRPr/>
            </a:lvl1pPr>
          </a:lstStyle>
          <a:p>
            <a:r>
              <a:rPr lang="en-US" noProof="0" dirty="0"/>
              <a:t>Click icon to add picture</a:t>
            </a:r>
          </a:p>
        </p:txBody>
      </p:sp>
      <p:sp>
        <p:nvSpPr>
          <p:cNvPr id="25" name="Rechteck 3">
            <a:extLst>
              <a:ext uri="{FF2B5EF4-FFF2-40B4-BE49-F238E27FC236}">
                <a16:creationId xmlns:a16="http://schemas.microsoft.com/office/drawing/2014/main" id="{9ADC4F0A-F2F4-48E1-86BE-8FAEE62778D4}"/>
              </a:ext>
            </a:extLst>
          </p:cNvPr>
          <p:cNvSpPr/>
          <p:nvPr userDrawn="1"/>
        </p:nvSpPr>
        <p:spPr>
          <a:xfrm flipH="1" flipV="1">
            <a:off x="2541187" y="-6594"/>
            <a:ext cx="6600551" cy="5143500"/>
          </a:xfrm>
          <a:custGeom>
            <a:avLst/>
            <a:gdLst>
              <a:gd name="connsiteX0" fmla="*/ 0 w 4844764"/>
              <a:gd name="connsiteY0" fmla="*/ 0 h 5143500"/>
              <a:gd name="connsiteX1" fmla="*/ 4844764 w 4844764"/>
              <a:gd name="connsiteY1" fmla="*/ 0 h 5143500"/>
              <a:gd name="connsiteX2" fmla="*/ 4844764 w 4844764"/>
              <a:gd name="connsiteY2" fmla="*/ 5143500 h 5143500"/>
              <a:gd name="connsiteX3" fmla="*/ 0 w 4844764"/>
              <a:gd name="connsiteY3" fmla="*/ 5143500 h 5143500"/>
              <a:gd name="connsiteX4" fmla="*/ 0 w 4844764"/>
              <a:gd name="connsiteY4" fmla="*/ 0 h 5143500"/>
              <a:gd name="connsiteX0" fmla="*/ 0 w 6600551"/>
              <a:gd name="connsiteY0" fmla="*/ 0 h 5143500"/>
              <a:gd name="connsiteX1" fmla="*/ 6600551 w 6600551"/>
              <a:gd name="connsiteY1" fmla="*/ 0 h 5143500"/>
              <a:gd name="connsiteX2" fmla="*/ 4844764 w 6600551"/>
              <a:gd name="connsiteY2" fmla="*/ 5143500 h 5143500"/>
              <a:gd name="connsiteX3" fmla="*/ 0 w 6600551"/>
              <a:gd name="connsiteY3" fmla="*/ 5143500 h 5143500"/>
              <a:gd name="connsiteX4" fmla="*/ 0 w 6600551"/>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551" h="5143500">
                <a:moveTo>
                  <a:pt x="0" y="0"/>
                </a:moveTo>
                <a:lnTo>
                  <a:pt x="6600551" y="0"/>
                </a:lnTo>
                <a:lnTo>
                  <a:pt x="4844764" y="5143500"/>
                </a:lnTo>
                <a:lnTo>
                  <a:pt x="0" y="51435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Textplatzhalter 4">
            <a:extLst>
              <a:ext uri="{FF2B5EF4-FFF2-40B4-BE49-F238E27FC236}">
                <a16:creationId xmlns:a16="http://schemas.microsoft.com/office/drawing/2014/main" id="{49D9F4B6-6660-4D9F-BD2B-9985E4ECE7E7}"/>
              </a:ext>
            </a:extLst>
          </p:cNvPr>
          <p:cNvSpPr>
            <a:spLocks noGrp="1"/>
          </p:cNvSpPr>
          <p:nvPr>
            <p:ph type="body" sz="quarter" idx="18" hasCustomPrompt="1"/>
          </p:nvPr>
        </p:nvSpPr>
        <p:spPr>
          <a:xfrm>
            <a:off x="4337013" y="1955395"/>
            <a:ext cx="334800" cy="316800"/>
          </a:xfrm>
          <a:prstGeom prst="pentagon">
            <a:avLst/>
          </a:prstGeom>
          <a:solidFill>
            <a:schemeClr val="accent2"/>
          </a:solidFill>
        </p:spPr>
        <p:txBody>
          <a:bodyPr tIns="0" bIns="0"/>
          <a:lstStyle>
            <a:lvl1pPr algn="ctr">
              <a:defRPr sz="1200" b="1">
                <a:solidFill>
                  <a:schemeClr val="bg1"/>
                </a:solidFill>
              </a:defRPr>
            </a:lvl1pPr>
          </a:lstStyle>
          <a:p>
            <a:pPr lvl="0"/>
            <a:r>
              <a:rPr lang="de-DE" dirty="0"/>
              <a:t>01</a:t>
            </a:r>
            <a:endParaRPr lang="en-GB" dirty="0"/>
          </a:p>
        </p:txBody>
      </p:sp>
      <p:sp>
        <p:nvSpPr>
          <p:cNvPr id="29" name="Textplatzhalter 4">
            <a:extLst>
              <a:ext uri="{FF2B5EF4-FFF2-40B4-BE49-F238E27FC236}">
                <a16:creationId xmlns:a16="http://schemas.microsoft.com/office/drawing/2014/main" id="{43A30AA3-33E5-4144-8390-7078459D05DD}"/>
              </a:ext>
            </a:extLst>
          </p:cNvPr>
          <p:cNvSpPr>
            <a:spLocks noGrp="1"/>
          </p:cNvSpPr>
          <p:nvPr>
            <p:ph type="body" sz="quarter" idx="23" hasCustomPrompt="1"/>
          </p:nvPr>
        </p:nvSpPr>
        <p:spPr>
          <a:xfrm>
            <a:off x="4122725" y="2601924"/>
            <a:ext cx="334800" cy="316800"/>
          </a:xfrm>
          <a:prstGeom prst="pentagon">
            <a:avLst/>
          </a:prstGeom>
          <a:solidFill>
            <a:srgbClr val="BAD1D7"/>
          </a:solidFill>
        </p:spPr>
        <p:txBody>
          <a:bodyPr tIns="0" bIns="0"/>
          <a:lstStyle>
            <a:lvl1pPr algn="ctr">
              <a:defRPr sz="1200" b="1">
                <a:solidFill>
                  <a:schemeClr val="bg1"/>
                </a:solidFill>
              </a:defRPr>
            </a:lvl1pPr>
          </a:lstStyle>
          <a:p>
            <a:pPr lvl="0"/>
            <a:r>
              <a:rPr lang="de-DE" dirty="0"/>
              <a:t>02</a:t>
            </a:r>
            <a:endParaRPr lang="en-GB" dirty="0"/>
          </a:p>
        </p:txBody>
      </p:sp>
      <p:sp>
        <p:nvSpPr>
          <p:cNvPr id="30" name="Textplatzhalter 4">
            <a:extLst>
              <a:ext uri="{FF2B5EF4-FFF2-40B4-BE49-F238E27FC236}">
                <a16:creationId xmlns:a16="http://schemas.microsoft.com/office/drawing/2014/main" id="{2AB79DD0-1F32-4716-89B5-4B689B1B2608}"/>
              </a:ext>
            </a:extLst>
          </p:cNvPr>
          <p:cNvSpPr>
            <a:spLocks noGrp="1"/>
          </p:cNvSpPr>
          <p:nvPr>
            <p:ph type="body" sz="quarter" idx="24" hasCustomPrompt="1"/>
          </p:nvPr>
        </p:nvSpPr>
        <p:spPr>
          <a:xfrm>
            <a:off x="3926847" y="3228395"/>
            <a:ext cx="334800" cy="316800"/>
          </a:xfrm>
          <a:prstGeom prst="pentagon">
            <a:avLst/>
          </a:prstGeom>
          <a:solidFill>
            <a:schemeClr val="accent5"/>
          </a:solidFill>
        </p:spPr>
        <p:txBody>
          <a:bodyPr tIns="0" bIns="0"/>
          <a:lstStyle>
            <a:lvl1pPr algn="ctr">
              <a:defRPr sz="1200" b="1">
                <a:solidFill>
                  <a:schemeClr val="bg1"/>
                </a:solidFill>
              </a:defRPr>
            </a:lvl1pPr>
          </a:lstStyle>
          <a:p>
            <a:pPr lvl="0"/>
            <a:r>
              <a:rPr lang="de-DE" dirty="0"/>
              <a:t>03</a:t>
            </a:r>
            <a:endParaRPr lang="en-GB" dirty="0"/>
          </a:p>
        </p:txBody>
      </p:sp>
      <p:sp>
        <p:nvSpPr>
          <p:cNvPr id="31" name="Textplatzhalter 4">
            <a:extLst>
              <a:ext uri="{FF2B5EF4-FFF2-40B4-BE49-F238E27FC236}">
                <a16:creationId xmlns:a16="http://schemas.microsoft.com/office/drawing/2014/main" id="{ED9E2103-5F8B-4495-BC5A-C9BA3600914C}"/>
              </a:ext>
            </a:extLst>
          </p:cNvPr>
          <p:cNvSpPr>
            <a:spLocks noGrp="1"/>
          </p:cNvSpPr>
          <p:nvPr>
            <p:ph type="body" sz="quarter" idx="25" hasCustomPrompt="1"/>
          </p:nvPr>
        </p:nvSpPr>
        <p:spPr>
          <a:xfrm>
            <a:off x="3716004" y="3869084"/>
            <a:ext cx="334800" cy="316800"/>
          </a:xfrm>
          <a:prstGeom prst="pentagon">
            <a:avLst/>
          </a:prstGeom>
          <a:solidFill>
            <a:schemeClr val="accent6"/>
          </a:solidFill>
        </p:spPr>
        <p:txBody>
          <a:bodyPr tIns="0" bIns="0"/>
          <a:lstStyle>
            <a:lvl1pPr algn="ctr">
              <a:defRPr sz="1200" b="1">
                <a:solidFill>
                  <a:schemeClr val="bg1"/>
                </a:solidFill>
              </a:defRPr>
            </a:lvl1pPr>
          </a:lstStyle>
          <a:p>
            <a:pPr lvl="0"/>
            <a:r>
              <a:rPr lang="de-DE" dirty="0"/>
              <a:t>04</a:t>
            </a:r>
            <a:endParaRPr lang="en-GB" dirty="0"/>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572000" y="990607"/>
            <a:ext cx="4248149" cy="612000"/>
          </a:xfrm>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572200" y="1474603"/>
            <a:ext cx="4104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Textplatzhalter 4">
            <a:extLst>
              <a:ext uri="{FF2B5EF4-FFF2-40B4-BE49-F238E27FC236}">
                <a16:creationId xmlns:a16="http://schemas.microsoft.com/office/drawing/2014/main" id="{11FC6D27-B26A-4B4E-852D-AF0070914F0C}"/>
              </a:ext>
            </a:extLst>
          </p:cNvPr>
          <p:cNvSpPr>
            <a:spLocks noGrp="1"/>
          </p:cNvSpPr>
          <p:nvPr>
            <p:ph type="body" sz="quarter" idx="13" hasCustomPrompt="1"/>
          </p:nvPr>
        </p:nvSpPr>
        <p:spPr>
          <a:xfrm>
            <a:off x="4793641" y="1955396"/>
            <a:ext cx="2880000" cy="318214"/>
          </a:xfrm>
          <a:prstGeom prst="rect">
            <a:avLst/>
          </a:prstGeom>
        </p:spPr>
        <p:txBody>
          <a:bodyPr anchor="b" anchorCtr="0"/>
          <a:lstStyle>
            <a:lvl1pPr>
              <a:defRPr sz="1400" b="1"/>
            </a:lvl1pPr>
          </a:lstStyle>
          <a:p>
            <a:pPr lvl="0"/>
            <a:r>
              <a:rPr lang="en-US" noProof="0" dirty="0"/>
              <a:t>Agenda point one</a:t>
            </a:r>
          </a:p>
        </p:txBody>
      </p:sp>
      <p:sp>
        <p:nvSpPr>
          <p:cNvPr id="21" name="Textplatzhalter 4">
            <a:extLst>
              <a:ext uri="{FF2B5EF4-FFF2-40B4-BE49-F238E27FC236}">
                <a16:creationId xmlns:a16="http://schemas.microsoft.com/office/drawing/2014/main" id="{757D00F4-4310-474C-94B7-8F7FA05831A6}"/>
              </a:ext>
            </a:extLst>
          </p:cNvPr>
          <p:cNvSpPr>
            <a:spLocks noGrp="1"/>
          </p:cNvSpPr>
          <p:nvPr>
            <p:ph type="body" sz="quarter" idx="14" hasCustomPrompt="1"/>
          </p:nvPr>
        </p:nvSpPr>
        <p:spPr>
          <a:xfrm>
            <a:off x="4598434" y="2595263"/>
            <a:ext cx="2880000" cy="318214"/>
          </a:xfrm>
          <a:prstGeom prst="rect">
            <a:avLst/>
          </a:prstGeom>
        </p:spPr>
        <p:txBody>
          <a:bodyPr anchor="b" anchorCtr="0"/>
          <a:lstStyle>
            <a:lvl1pPr>
              <a:defRPr sz="1400" b="1"/>
            </a:lvl1pPr>
          </a:lstStyle>
          <a:p>
            <a:pPr lvl="0"/>
            <a:r>
              <a:rPr lang="en-US" noProof="0" dirty="0"/>
              <a:t>Agenda point two</a:t>
            </a:r>
          </a:p>
        </p:txBody>
      </p:sp>
      <p:sp>
        <p:nvSpPr>
          <p:cNvPr id="22" name="Textplatzhalter 4">
            <a:extLst>
              <a:ext uri="{FF2B5EF4-FFF2-40B4-BE49-F238E27FC236}">
                <a16:creationId xmlns:a16="http://schemas.microsoft.com/office/drawing/2014/main" id="{9685688B-0B10-4DCA-890A-677C372AF48B}"/>
              </a:ext>
            </a:extLst>
          </p:cNvPr>
          <p:cNvSpPr>
            <a:spLocks noGrp="1"/>
          </p:cNvSpPr>
          <p:nvPr>
            <p:ph type="body" sz="quarter" idx="15" hasCustomPrompt="1"/>
          </p:nvPr>
        </p:nvSpPr>
        <p:spPr>
          <a:xfrm>
            <a:off x="4394009" y="3235129"/>
            <a:ext cx="2880000" cy="318214"/>
          </a:xfrm>
          <a:prstGeom prst="rect">
            <a:avLst/>
          </a:prstGeom>
        </p:spPr>
        <p:txBody>
          <a:bodyPr anchor="b" anchorCtr="0"/>
          <a:lstStyle>
            <a:lvl1pPr>
              <a:defRPr sz="1400" b="1"/>
            </a:lvl1pPr>
          </a:lstStyle>
          <a:p>
            <a:pPr lvl="0"/>
            <a:r>
              <a:rPr lang="en-US" noProof="0" dirty="0"/>
              <a:t>Agenda point three</a:t>
            </a:r>
          </a:p>
        </p:txBody>
      </p:sp>
      <p:sp>
        <p:nvSpPr>
          <p:cNvPr id="23" name="Textplatzhalter 4">
            <a:extLst>
              <a:ext uri="{FF2B5EF4-FFF2-40B4-BE49-F238E27FC236}">
                <a16:creationId xmlns:a16="http://schemas.microsoft.com/office/drawing/2014/main" id="{058DD13B-7C02-47C6-9927-78B109405A8C}"/>
              </a:ext>
            </a:extLst>
          </p:cNvPr>
          <p:cNvSpPr>
            <a:spLocks noGrp="1"/>
          </p:cNvSpPr>
          <p:nvPr>
            <p:ph type="body" sz="quarter" idx="16" hasCustomPrompt="1"/>
          </p:nvPr>
        </p:nvSpPr>
        <p:spPr>
          <a:xfrm>
            <a:off x="4189584" y="3874995"/>
            <a:ext cx="2880000" cy="318214"/>
          </a:xfrm>
          <a:prstGeom prst="rect">
            <a:avLst/>
          </a:prstGeom>
        </p:spPr>
        <p:txBody>
          <a:bodyPr anchor="b" anchorCtr="0"/>
          <a:lstStyle>
            <a:lvl1pPr>
              <a:defRPr sz="1400" b="1"/>
            </a:lvl1pPr>
          </a:lstStyle>
          <a:p>
            <a:pPr lvl="0"/>
            <a:r>
              <a:rPr lang="en-US" noProof="0" dirty="0"/>
              <a:t>Agenda point four</a:t>
            </a:r>
          </a:p>
        </p:txBody>
      </p:sp>
      <p:sp>
        <p:nvSpPr>
          <p:cNvPr id="4" name="Fußzeilenplatzhalter 3">
            <a:extLst>
              <a:ext uri="{FF2B5EF4-FFF2-40B4-BE49-F238E27FC236}">
                <a16:creationId xmlns:a16="http://schemas.microsoft.com/office/drawing/2014/main" id="{E78CF227-03D7-4033-9AAB-9EAEECC02F64}"/>
              </a:ext>
            </a:extLst>
          </p:cNvPr>
          <p:cNvSpPr>
            <a:spLocks noGrp="1"/>
          </p:cNvSpPr>
          <p:nvPr>
            <p:ph type="ftr" sz="quarter" idx="26"/>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2478775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Statement grey">
    <p:bg>
      <p:bgPr>
        <a:solidFill>
          <a:schemeClr val="bg1"/>
        </a:solidFill>
        <a:effectLst/>
      </p:bgPr>
    </p:bg>
    <p:spTree>
      <p:nvGrpSpPr>
        <p:cNvPr id="1" name=""/>
        <p:cNvGrpSpPr/>
        <p:nvPr/>
      </p:nvGrpSpPr>
      <p:grpSpPr>
        <a:xfrm>
          <a:off x="0" y="0"/>
          <a:ext cx="0" cy="0"/>
          <a:chOff x="0" y="0"/>
          <a:chExt cx="0" cy="0"/>
        </a:xfrm>
      </p:grpSpPr>
      <p:sp>
        <p:nvSpPr>
          <p:cNvPr id="11" name="Rectangle 1">
            <a:extLst>
              <a:ext uri="{FF2B5EF4-FFF2-40B4-BE49-F238E27FC236}">
                <a16:creationId xmlns:a16="http://schemas.microsoft.com/office/drawing/2014/main" id="{621A890B-FCAD-459F-85C3-170F72C364D8}"/>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1419228"/>
            <a:ext cx="8243888" cy="1327018"/>
          </a:xfrm>
        </p:spPr>
        <p:txBody>
          <a:bodyPr anchor="b" anchorCtr="0"/>
          <a:lstStyle>
            <a:lvl1pPr algn="ctr">
              <a:lnSpc>
                <a:spcPts val="3800"/>
              </a:lnSpc>
              <a:defRPr sz="3800"/>
            </a:lvl1pPr>
          </a:lstStyle>
          <a:p>
            <a:r>
              <a:rPr lang="en-US" noProof="0" dirty="0"/>
              <a:t>Big sentence with bold statement summarizing executive messag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b="1" cap="all" spc="3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3494226" y="3000434"/>
            <a:ext cx="201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2" name="Textfeld 11">
            <a:extLst>
              <a:ext uri="{FF2B5EF4-FFF2-40B4-BE49-F238E27FC236}">
                <a16:creationId xmlns:a16="http://schemas.microsoft.com/office/drawing/2014/main" id="{C514BE64-53AF-4F2A-A94B-77D737EF7D19}"/>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4" name="Fußzeilenplatzhalter 3">
            <a:extLst>
              <a:ext uri="{FF2B5EF4-FFF2-40B4-BE49-F238E27FC236}">
                <a16:creationId xmlns:a16="http://schemas.microsoft.com/office/drawing/2014/main" id="{84CFA228-1696-4F16-9DB8-3D749E50643C}"/>
              </a:ext>
            </a:extLst>
          </p:cNvPr>
          <p:cNvSpPr>
            <a:spLocks noGrp="1"/>
          </p:cNvSpPr>
          <p:nvPr>
            <p:ph type="ftr" sz="quarter" idx="13"/>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446601584"/>
      </p:ext>
    </p:extLst>
  </p:cSld>
  <p:clrMapOvr>
    <a:masterClrMapping/>
  </p:clrMapOvr>
  <p:extLst>
    <p:ext uri="{DCECCB84-F9BA-43D5-87BE-67443E8EF086}">
      <p15:sldGuideLst xmlns:p15="http://schemas.microsoft.com/office/powerpoint/2012/main">
        <p15:guide id="1" pos="288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Statement go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1419228"/>
            <a:ext cx="8243888" cy="1327018"/>
          </a:xfrm>
        </p:spPr>
        <p:txBody>
          <a:bodyPr anchor="b" anchorCtr="0"/>
          <a:lstStyle>
            <a:lvl1pPr algn="ctr">
              <a:lnSpc>
                <a:spcPts val="3800"/>
              </a:lnSpc>
              <a:defRPr sz="3800">
                <a:solidFill>
                  <a:schemeClr val="bg1"/>
                </a:solidFill>
              </a:defRPr>
            </a:lvl1pPr>
          </a:lstStyle>
          <a:p>
            <a:r>
              <a:rPr lang="en-GB" noProof="0" dirty="0"/>
              <a:t>Big sentence with bold statement summarizing executive messag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b="1" cap="all" spc="3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3494226" y="3000434"/>
            <a:ext cx="20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11" name="Textfeld 10">
            <a:extLst>
              <a:ext uri="{FF2B5EF4-FFF2-40B4-BE49-F238E27FC236}">
                <a16:creationId xmlns:a16="http://schemas.microsoft.com/office/drawing/2014/main" id="{FFF793EE-FF87-45BB-BD86-90F689A4C819}"/>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4" name="Fußzeilenplatzhalter 3">
            <a:extLst>
              <a:ext uri="{FF2B5EF4-FFF2-40B4-BE49-F238E27FC236}">
                <a16:creationId xmlns:a16="http://schemas.microsoft.com/office/drawing/2014/main" id="{9D9AF86F-1714-4CB6-A124-32D270F3F067}"/>
              </a:ext>
            </a:extLst>
          </p:cNvPr>
          <p:cNvSpPr>
            <a:spLocks noGrp="1"/>
          </p:cNvSpPr>
          <p:nvPr>
            <p:ph type="ftr" sz="quarter" idx="13"/>
          </p:nvPr>
        </p:nvSpPr>
        <p:spPr/>
        <p:txBody>
          <a:bodyPr/>
          <a:lstStyle/>
          <a:p>
            <a:r>
              <a:rPr lang="en-GB"/>
              <a:t>#AllAboutSports</a:t>
            </a:r>
            <a:endParaRPr lang="en-GB" dirty="0"/>
          </a:p>
        </p:txBody>
      </p:sp>
    </p:spTree>
    <p:extLst>
      <p:ext uri="{BB962C8B-B14F-4D97-AF65-F5344CB8AC3E}">
        <p14:creationId xmlns:p14="http://schemas.microsoft.com/office/powerpoint/2010/main" val="1429382138"/>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Statement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1419228"/>
            <a:ext cx="8243888" cy="1327018"/>
          </a:xfrm>
        </p:spPr>
        <p:txBody>
          <a:bodyPr anchor="b" anchorCtr="0"/>
          <a:lstStyle>
            <a:lvl1pPr algn="ctr">
              <a:lnSpc>
                <a:spcPts val="3800"/>
              </a:lnSpc>
              <a:defRPr sz="3800">
                <a:solidFill>
                  <a:schemeClr val="bg1"/>
                </a:solidFill>
              </a:defRPr>
            </a:lvl1pPr>
          </a:lstStyle>
          <a:p>
            <a:r>
              <a:rPr lang="en-GB" noProof="0" dirty="0"/>
              <a:t>Big sentence with bold statement summarizing executive messag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b="1" cap="all" spc="3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lvl1pPr>
              <a:defRPr>
                <a:solidFill>
                  <a:schemeClr val="bg1"/>
                </a:solidFill>
              </a:defRPr>
            </a:lvl1pPr>
          </a:lstStyle>
          <a:p>
            <a:fld id="{9B60B346-FC99-4236-B943-65AE761B958F}" type="slidenum">
              <a:rPr lang="de-CH" smtClean="0"/>
              <a:pPr/>
              <a:t>‹#›</a:t>
            </a:fld>
            <a:endParaRPr lang="de-CH" dirty="0"/>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3494226" y="3000434"/>
            <a:ext cx="20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5">
            <a:extLst>
              <a:ext uri="{FF2B5EF4-FFF2-40B4-BE49-F238E27FC236}">
                <a16:creationId xmlns:a16="http://schemas.microsoft.com/office/drawing/2014/main" id="{631639D1-0C55-42AF-95C5-8ABD7C9964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063831" y="0"/>
            <a:ext cx="756318" cy="381002"/>
          </a:xfrm>
          <a:prstGeom prst="rect">
            <a:avLst/>
          </a:prstGeom>
        </p:spPr>
      </p:pic>
      <p:sp>
        <p:nvSpPr>
          <p:cNvPr id="8" name="Textfeld 7">
            <a:extLst>
              <a:ext uri="{FF2B5EF4-FFF2-40B4-BE49-F238E27FC236}">
                <a16:creationId xmlns:a16="http://schemas.microsoft.com/office/drawing/2014/main" id="{35D4871D-2B46-4457-834D-BB124F73D257}"/>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chemeClr val="bg1"/>
                </a:solidFill>
              </a:rPr>
              <a:t>© Infront Sports &amp; Media AG │</a:t>
            </a:r>
            <a:endParaRPr lang="en-GB" sz="600" b="1" dirty="0">
              <a:solidFill>
                <a:schemeClr val="bg1"/>
              </a:solidFill>
            </a:endParaRPr>
          </a:p>
        </p:txBody>
      </p:sp>
      <p:sp>
        <p:nvSpPr>
          <p:cNvPr id="4" name="Fußzeilenplatzhalter 3">
            <a:extLst>
              <a:ext uri="{FF2B5EF4-FFF2-40B4-BE49-F238E27FC236}">
                <a16:creationId xmlns:a16="http://schemas.microsoft.com/office/drawing/2014/main" id="{2325306D-98CA-4E5B-A0AB-ACB7FE86B93E}"/>
              </a:ext>
            </a:extLst>
          </p:cNvPr>
          <p:cNvSpPr>
            <a:spLocks noGrp="1"/>
          </p:cNvSpPr>
          <p:nvPr>
            <p:ph type="ftr" sz="quarter" idx="13"/>
          </p:nvPr>
        </p:nvSpPr>
        <p:spPr/>
        <p:txBody>
          <a:bodyPr/>
          <a:lstStyle/>
          <a:p>
            <a:r>
              <a:rPr lang="en-GB"/>
              <a:t>#AllAboutSports</a:t>
            </a:r>
            <a:endParaRPr lang="en-GB" dirty="0"/>
          </a:p>
        </p:txBody>
      </p:sp>
    </p:spTree>
    <p:extLst>
      <p:ext uri="{BB962C8B-B14F-4D97-AF65-F5344CB8AC3E}">
        <p14:creationId xmlns:p14="http://schemas.microsoft.com/office/powerpoint/2010/main" val="553241327"/>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tement picture">
    <p:bg>
      <p:bgPr>
        <a:solidFill>
          <a:schemeClr val="bg1">
            <a:lumMod val="85000"/>
          </a:schemeClr>
        </a:solidFill>
        <a:effectLst/>
      </p:bgPr>
    </p:bg>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262F1E39-90C8-44C7-8449-1A362B144A4F}"/>
              </a:ext>
            </a:extLst>
          </p:cNvPr>
          <p:cNvSpPr>
            <a:spLocks noGrp="1"/>
          </p:cNvSpPr>
          <p:nvPr>
            <p:ph type="pic" sz="quarter" idx="13" hasCustomPrompt="1"/>
          </p:nvPr>
        </p:nvSpPr>
        <p:spPr>
          <a:xfrm>
            <a:off x="0" y="0"/>
            <a:ext cx="9144000" cy="5143500"/>
          </a:xfrm>
          <a:custGeom>
            <a:avLst/>
            <a:gdLst>
              <a:gd name="connsiteX0" fmla="*/ 3494226 w 9144000"/>
              <a:gd name="connsiteY0" fmla="*/ 2995033 h 5143500"/>
              <a:gd name="connsiteX1" fmla="*/ 3494226 w 9144000"/>
              <a:gd name="connsiteY1" fmla="*/ 3005833 h 5143500"/>
              <a:gd name="connsiteX2" fmla="*/ 5510226 w 9144000"/>
              <a:gd name="connsiteY2" fmla="*/ 3005833 h 5143500"/>
              <a:gd name="connsiteX3" fmla="*/ 5510226 w 9144000"/>
              <a:gd name="connsiteY3" fmla="*/ 2995033 h 5143500"/>
              <a:gd name="connsiteX4" fmla="*/ 0 w 9144000"/>
              <a:gd name="connsiteY4" fmla="*/ 0 h 5143500"/>
              <a:gd name="connsiteX5" fmla="*/ 8064149 w 9144000"/>
              <a:gd name="connsiteY5" fmla="*/ 0 h 5143500"/>
              <a:gd name="connsiteX6" fmla="*/ 8064149 w 9144000"/>
              <a:gd name="connsiteY6" fmla="*/ 381193 h 5143500"/>
              <a:gd name="connsiteX7" fmla="*/ 8820149 w 9144000"/>
              <a:gd name="connsiteY7" fmla="*/ 381193 h 5143500"/>
              <a:gd name="connsiteX8" fmla="*/ 8820149 w 9144000"/>
              <a:gd name="connsiteY8" fmla="*/ 0 h 5143500"/>
              <a:gd name="connsiteX9" fmla="*/ 9144000 w 9144000"/>
              <a:gd name="connsiteY9" fmla="*/ 0 h 5143500"/>
              <a:gd name="connsiteX10" fmla="*/ 9144000 w 9144000"/>
              <a:gd name="connsiteY10" fmla="*/ 5143500 h 5143500"/>
              <a:gd name="connsiteX11" fmla="*/ 0 w 91440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5143500">
                <a:moveTo>
                  <a:pt x="3494226" y="2995033"/>
                </a:moveTo>
                <a:lnTo>
                  <a:pt x="3494226" y="3005833"/>
                </a:lnTo>
                <a:lnTo>
                  <a:pt x="5510226" y="3005833"/>
                </a:lnTo>
                <a:lnTo>
                  <a:pt x="5510226" y="2995033"/>
                </a:lnTo>
                <a:close/>
                <a:moveTo>
                  <a:pt x="0" y="0"/>
                </a:moveTo>
                <a:lnTo>
                  <a:pt x="8064149" y="0"/>
                </a:lnTo>
                <a:lnTo>
                  <a:pt x="8064149" y="381193"/>
                </a:lnTo>
                <a:lnTo>
                  <a:pt x="8820149" y="381193"/>
                </a:lnTo>
                <a:lnTo>
                  <a:pt x="8820149" y="0"/>
                </a:lnTo>
                <a:lnTo>
                  <a:pt x="9144000" y="0"/>
                </a:lnTo>
                <a:lnTo>
                  <a:pt x="9144000" y="5143500"/>
                </a:lnTo>
                <a:lnTo>
                  <a:pt x="0" y="5143500"/>
                </a:lnTo>
                <a:close/>
              </a:path>
            </a:pathLst>
          </a:custGeom>
        </p:spPr>
        <p:txBody>
          <a:bodyPr wrap="square" tIns="90000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icon to add picture</a:t>
            </a:r>
          </a:p>
        </p:txBody>
      </p:sp>
      <p:sp>
        <p:nvSpPr>
          <p:cNvPr id="20" name="Freeform 19">
            <a:extLst>
              <a:ext uri="{FF2B5EF4-FFF2-40B4-BE49-F238E27FC236}">
                <a16:creationId xmlns:a16="http://schemas.microsoft.com/office/drawing/2014/main" id="{F725CEB3-FCED-BE48-A769-B92B368EA621}"/>
              </a:ext>
            </a:extLst>
          </p:cNvPr>
          <p:cNvSpPr>
            <a:spLocks noGrp="1"/>
          </p:cNvSpPr>
          <p:nvPr>
            <p:ph type="ctrTitle" hasCustomPrompt="1"/>
          </p:nvPr>
        </p:nvSpPr>
        <p:spPr>
          <a:xfrm>
            <a:off x="0" y="-1"/>
            <a:ext cx="9144000" cy="5143501"/>
          </a:xfrm>
          <a:custGeom>
            <a:avLst/>
            <a:gdLst>
              <a:gd name="connsiteX0" fmla="*/ 0 w 9144000"/>
              <a:gd name="connsiteY0" fmla="*/ 0 h 5143501"/>
              <a:gd name="connsiteX1" fmla="*/ 8064149 w 9144000"/>
              <a:gd name="connsiteY1" fmla="*/ 0 h 5143501"/>
              <a:gd name="connsiteX2" fmla="*/ 8064149 w 9144000"/>
              <a:gd name="connsiteY2" fmla="*/ 1 h 5143501"/>
              <a:gd name="connsiteX3" fmla="*/ 8064149 w 9144000"/>
              <a:gd name="connsiteY3" fmla="*/ 381196 h 5143501"/>
              <a:gd name="connsiteX4" fmla="*/ 8820149 w 9144000"/>
              <a:gd name="connsiteY4" fmla="*/ 381196 h 5143501"/>
              <a:gd name="connsiteX5" fmla="*/ 8820149 w 9144000"/>
              <a:gd name="connsiteY5" fmla="*/ 1 h 5143501"/>
              <a:gd name="connsiteX6" fmla="*/ 8820149 w 9144000"/>
              <a:gd name="connsiteY6" fmla="*/ 0 h 5143501"/>
              <a:gd name="connsiteX7" fmla="*/ 9144000 w 9144000"/>
              <a:gd name="connsiteY7" fmla="*/ 0 h 5143501"/>
              <a:gd name="connsiteX8" fmla="*/ 9144000 w 9144000"/>
              <a:gd name="connsiteY8" fmla="*/ 5143501 h 5143501"/>
              <a:gd name="connsiteX9" fmla="*/ 0 w 9144000"/>
              <a:gd name="connsiteY9" fmla="*/ 5143501 h 514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5143501">
                <a:moveTo>
                  <a:pt x="0" y="0"/>
                </a:moveTo>
                <a:lnTo>
                  <a:pt x="8064149" y="0"/>
                </a:lnTo>
                <a:lnTo>
                  <a:pt x="8064149" y="1"/>
                </a:lnTo>
                <a:lnTo>
                  <a:pt x="8064149" y="381196"/>
                </a:lnTo>
                <a:lnTo>
                  <a:pt x="8820149" y="381196"/>
                </a:lnTo>
                <a:lnTo>
                  <a:pt x="8820149" y="1"/>
                </a:lnTo>
                <a:lnTo>
                  <a:pt x="8820149" y="0"/>
                </a:lnTo>
                <a:lnTo>
                  <a:pt x="9144000" y="0"/>
                </a:lnTo>
                <a:lnTo>
                  <a:pt x="9144000" y="5143501"/>
                </a:lnTo>
                <a:lnTo>
                  <a:pt x="0" y="5143501"/>
                </a:lnTo>
                <a:close/>
              </a:path>
            </a:pathLst>
          </a:custGeom>
          <a:solidFill>
            <a:schemeClr val="tx1">
              <a:alpha val="40000"/>
            </a:schemeClr>
          </a:solidFill>
        </p:spPr>
        <p:txBody>
          <a:bodyPr wrap="square" bIns="2412000" anchor="b" anchorCtr="0">
            <a:noAutofit/>
          </a:bodyPr>
          <a:lstStyle>
            <a:lvl1pPr algn="ctr">
              <a:lnSpc>
                <a:spcPts val="3800"/>
              </a:lnSpc>
              <a:defRPr sz="3800">
                <a:solidFill>
                  <a:schemeClr val="bg1"/>
                </a:solidFill>
              </a:defRPr>
            </a:lvl1pPr>
          </a:lstStyle>
          <a:p>
            <a:r>
              <a:rPr lang="en-GB" noProof="0" dirty="0"/>
              <a:t>Big sentence with bold statement summarizing executive messag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lvl1pPr>
              <a:defRPr>
                <a:solidFill>
                  <a:schemeClr val="bg1"/>
                </a:solidFill>
              </a:defRPr>
            </a:lvl1pPr>
          </a:lstStyle>
          <a:p>
            <a:fld id="{9B60B346-FC99-4236-B943-65AE761B958F}" type="slidenum">
              <a:rPr lang="de-CH" smtClean="0"/>
              <a:pPr/>
              <a:t>‹#›</a:t>
            </a:fld>
            <a:endParaRPr lang="de-CH" dirty="0"/>
          </a:p>
        </p:txBody>
      </p:sp>
      <p:sp>
        <p:nvSpPr>
          <p:cNvPr id="12" name="Textfeld 11">
            <a:extLst>
              <a:ext uri="{FF2B5EF4-FFF2-40B4-BE49-F238E27FC236}">
                <a16:creationId xmlns:a16="http://schemas.microsoft.com/office/drawing/2014/main" id="{2DAECC70-92F8-4B13-BD5B-4F9109572041}"/>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chemeClr val="bg1"/>
                </a:solidFill>
              </a:rPr>
              <a:t>© Infront Sports &amp; Media AG │</a:t>
            </a:r>
            <a:endParaRPr lang="en-GB" sz="600" b="1" dirty="0">
              <a:solidFill>
                <a:schemeClr val="bg1"/>
              </a:solidFill>
            </a:endParaRPr>
          </a:p>
        </p:txBody>
      </p:sp>
      <p:sp>
        <p:nvSpPr>
          <p:cNvPr id="4" name="Fußzeilenplatzhalter 3">
            <a:extLst>
              <a:ext uri="{FF2B5EF4-FFF2-40B4-BE49-F238E27FC236}">
                <a16:creationId xmlns:a16="http://schemas.microsoft.com/office/drawing/2014/main" id="{7D15B9AB-8FB6-4F7E-8D42-F8C071CC87E3}"/>
              </a:ext>
            </a:extLst>
          </p:cNvPr>
          <p:cNvSpPr>
            <a:spLocks noGrp="1"/>
          </p:cNvSpPr>
          <p:nvPr>
            <p:ph type="ftr" sz="quarter" idx="14"/>
          </p:nvPr>
        </p:nvSpPr>
        <p:spPr/>
        <p:txBody>
          <a:bodyPr/>
          <a:lstStyle/>
          <a:p>
            <a:r>
              <a:rPr lang="en-GB"/>
              <a:t>#AllAboutSports</a:t>
            </a:r>
            <a:endParaRPr lang="en-GB" dirty="0"/>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cap="all" spc="3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pic>
        <p:nvPicPr>
          <p:cNvPr id="21" name="Grafik 7">
            <a:extLst>
              <a:ext uri="{FF2B5EF4-FFF2-40B4-BE49-F238E27FC236}">
                <a16:creationId xmlns:a16="http://schemas.microsoft.com/office/drawing/2014/main" id="{0BC66ECC-0163-B547-B9F3-745DDF646B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Tree>
    <p:extLst>
      <p:ext uri="{BB962C8B-B14F-4D97-AF65-F5344CB8AC3E}">
        <p14:creationId xmlns:p14="http://schemas.microsoft.com/office/powerpoint/2010/main" val="1706321456"/>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58EFD43-561D-4457-A607-61B7234F3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4" name="Rectangle 13">
            <a:extLst>
              <a:ext uri="{FF2B5EF4-FFF2-40B4-BE49-F238E27FC236}">
                <a16:creationId xmlns:a16="http://schemas.microsoft.com/office/drawing/2014/main" id="{D73FA8CD-5EAD-4A2F-A455-EA5374DB4206}"/>
              </a:ext>
            </a:extLst>
          </p:cNvPr>
          <p:cNvSpPr/>
          <p:nvPr userDrawn="1"/>
        </p:nvSpPr>
        <p:spPr bwMode="blackWhite">
          <a:xfrm>
            <a:off x="0" y="0"/>
            <a:ext cx="9144000" cy="5143500"/>
          </a:xfrm>
          <a:prstGeom prst="rect">
            <a:avLst/>
          </a:prstGeom>
          <a:solidFill>
            <a:schemeClr val="bg1">
              <a:alpha val="50000"/>
            </a:schemeClr>
          </a:solidFill>
          <a:ln>
            <a:noFill/>
          </a:ln>
          <a:effectLst/>
        </p:spPr>
        <p:txBody>
          <a:bodyPr rtlCol="0" anchor="ctr"/>
          <a:lstStyle/>
          <a:p>
            <a:pPr algn="l"/>
            <a:endParaRPr lang="en-GB"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a:cxnSpLocks/>
          </p:cNvCxnSpPr>
          <p:nvPr userDrawn="1"/>
        </p:nvCxnSpPr>
        <p:spPr>
          <a:xfrm>
            <a:off x="432000" y="1044000"/>
            <a:ext cx="84453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3" name="Fußzeilenplatzhalter 2">
            <a:extLst>
              <a:ext uri="{FF2B5EF4-FFF2-40B4-BE49-F238E27FC236}">
                <a16:creationId xmlns:a16="http://schemas.microsoft.com/office/drawing/2014/main" id="{60E6A884-82E7-406F-921A-FB19EB424BD2}"/>
              </a:ext>
            </a:extLst>
          </p:cNvPr>
          <p:cNvSpPr>
            <a:spLocks noGrp="1"/>
          </p:cNvSpPr>
          <p:nvPr>
            <p:ph type="ftr" sz="quarter" idx="1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093626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800" y="4423578"/>
            <a:ext cx="1621656" cy="211223"/>
          </a:xfrm>
          <a:prstGeom prst="rect">
            <a:avLst/>
          </a:prstGeom>
        </p:spPr>
      </p:pic>
      <p:pic>
        <p:nvPicPr>
          <p:cNvPr id="8" name="Graphic 2">
            <a:extLst>
              <a:ext uri="{FF2B5EF4-FFF2-40B4-BE49-F238E27FC236}">
                <a16:creationId xmlns:a16="http://schemas.microsoft.com/office/drawing/2014/main" id="{5B48A011-E584-450F-B004-09C92316426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1" y="-2"/>
            <a:ext cx="1311769" cy="660816"/>
          </a:xfrm>
          <a:prstGeom prst="rect">
            <a:avLst/>
          </a:prstGeom>
        </p:spPr>
      </p:pic>
    </p:spTree>
    <p:extLst>
      <p:ext uri="{BB962C8B-B14F-4D97-AF65-F5344CB8AC3E}">
        <p14:creationId xmlns:p14="http://schemas.microsoft.com/office/powerpoint/2010/main" val="8130376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58EFD43-561D-4457-A607-61B7234F3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4" name="Rectangle 13">
            <a:extLst>
              <a:ext uri="{FF2B5EF4-FFF2-40B4-BE49-F238E27FC236}">
                <a16:creationId xmlns:a16="http://schemas.microsoft.com/office/drawing/2014/main" id="{D73FA8CD-5EAD-4A2F-A455-EA5374DB4206}"/>
              </a:ext>
            </a:extLst>
          </p:cNvPr>
          <p:cNvSpPr/>
          <p:nvPr userDrawn="1"/>
        </p:nvSpPr>
        <p:spPr bwMode="blackWhite">
          <a:xfrm>
            <a:off x="0" y="0"/>
            <a:ext cx="9144000" cy="5143500"/>
          </a:xfrm>
          <a:prstGeom prst="rect">
            <a:avLst/>
          </a:prstGeom>
          <a:solidFill>
            <a:schemeClr val="bg1">
              <a:alpha val="50000"/>
            </a:schemeClr>
          </a:solidFill>
          <a:ln>
            <a:noFill/>
          </a:ln>
          <a:effectLst/>
        </p:spPr>
        <p:txBody>
          <a:bodyPr rtlCol="0" anchor="ctr"/>
          <a:lstStyle/>
          <a:p>
            <a:pPr algn="l"/>
            <a:endParaRPr lang="en-GB"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299981"/>
            <a:ext cx="8243888" cy="612000"/>
          </a:xfrm>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783977"/>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3" name="Fußzeilenplatzhalter 2">
            <a:extLst>
              <a:ext uri="{FF2B5EF4-FFF2-40B4-BE49-F238E27FC236}">
                <a16:creationId xmlns:a16="http://schemas.microsoft.com/office/drawing/2014/main" id="{60E6A884-82E7-406F-921A-FB19EB424BD2}"/>
              </a:ext>
            </a:extLst>
          </p:cNvPr>
          <p:cNvSpPr>
            <a:spLocks noGrp="1"/>
          </p:cNvSpPr>
          <p:nvPr>
            <p:ph type="ftr" sz="quarter" idx="1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3408235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299981"/>
            <a:ext cx="8243888" cy="612000"/>
          </a:xfrm>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783977"/>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3" name="Fußzeilenplatzhalter 2">
            <a:extLst>
              <a:ext uri="{FF2B5EF4-FFF2-40B4-BE49-F238E27FC236}">
                <a16:creationId xmlns:a16="http://schemas.microsoft.com/office/drawing/2014/main" id="{60E6A884-82E7-406F-921A-FB19EB424BD2}"/>
              </a:ext>
            </a:extLst>
          </p:cNvPr>
          <p:cNvSpPr>
            <a:spLocks noGrp="1"/>
          </p:cNvSpPr>
          <p:nvPr>
            <p:ph type="ftr" sz="quarter" idx="1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9040154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10" name="Textplatzhalter 9">
            <a:extLst>
              <a:ext uri="{FF2B5EF4-FFF2-40B4-BE49-F238E27FC236}">
                <a16:creationId xmlns:a16="http://schemas.microsoft.com/office/drawing/2014/main" id="{6195F143-5523-4432-9E90-20D6807D384B}"/>
              </a:ext>
            </a:extLst>
          </p:cNvPr>
          <p:cNvSpPr>
            <a:spLocks noGrp="1"/>
          </p:cNvSpPr>
          <p:nvPr>
            <p:ph type="body" sz="quarter" idx="15" hasCustomPrompt="1"/>
          </p:nvPr>
        </p:nvSpPr>
        <p:spPr>
          <a:xfrm>
            <a:off x="431800" y="1419225"/>
            <a:ext cx="3960000" cy="288000"/>
          </a:xfrm>
          <a:prstGeom prst="rect">
            <a:avLst/>
          </a:prstGeom>
        </p:spPr>
        <p:txBody>
          <a:bodyPr/>
          <a:lstStyle>
            <a:lvl1pPr>
              <a:defRPr sz="1000" b="1" cap="all" spc="100" baseline="0"/>
            </a:lvl1pPr>
            <a:lvl2pPr>
              <a:defRPr sz="1000" cap="all" spc="550" baseline="0"/>
            </a:lvl2pPr>
            <a:lvl3pPr>
              <a:defRPr sz="1000" cap="all" spc="550" baseline="0"/>
            </a:lvl3pPr>
            <a:lvl4pPr>
              <a:defRPr sz="1000" cap="all" spc="550" baseline="0"/>
            </a:lvl4pPr>
            <a:lvl5pPr>
              <a:defRPr sz="1000" cap="all" spc="550" baseline="0"/>
            </a:lvl5pPr>
          </a:lstStyle>
          <a:p>
            <a:pPr lvl="0"/>
            <a:r>
              <a:rPr lang="en-US" noProof="0" dirty="0"/>
              <a:t>SUBHEADER 01</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780338"/>
            <a:ext cx="3960000" cy="2952000"/>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cxnSp>
        <p:nvCxnSpPr>
          <p:cNvPr id="17" name="Gerader Verbinder 16">
            <a:extLst>
              <a:ext uri="{FF2B5EF4-FFF2-40B4-BE49-F238E27FC236}">
                <a16:creationId xmlns:a16="http://schemas.microsoft.com/office/drawing/2014/main" id="{9FE20284-0674-49C9-8A68-BDA474EF1C53}"/>
              </a:ext>
            </a:extLst>
          </p:cNvPr>
          <p:cNvCxnSpPr/>
          <p:nvPr userDrawn="1"/>
        </p:nvCxnSpPr>
        <p:spPr>
          <a:xfrm>
            <a:off x="432000" y="1632278"/>
            <a:ext cx="39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9">
            <a:extLst>
              <a:ext uri="{FF2B5EF4-FFF2-40B4-BE49-F238E27FC236}">
                <a16:creationId xmlns:a16="http://schemas.microsoft.com/office/drawing/2014/main" id="{6F869C3A-B020-444C-AFD1-EFD612D2E80E}"/>
              </a:ext>
            </a:extLst>
          </p:cNvPr>
          <p:cNvSpPr>
            <a:spLocks noGrp="1"/>
          </p:cNvSpPr>
          <p:nvPr>
            <p:ph type="body" sz="quarter" idx="16" hasCustomPrompt="1"/>
          </p:nvPr>
        </p:nvSpPr>
        <p:spPr>
          <a:xfrm>
            <a:off x="4714334" y="1419225"/>
            <a:ext cx="3960000" cy="288000"/>
          </a:xfrm>
          <a:prstGeom prst="rect">
            <a:avLst/>
          </a:prstGeom>
        </p:spPr>
        <p:txBody>
          <a:bodyPr/>
          <a:lstStyle>
            <a:lvl1pPr>
              <a:defRPr sz="1000" b="1" cap="all" spc="100" baseline="0"/>
            </a:lvl1pPr>
            <a:lvl2pPr>
              <a:defRPr sz="1000" cap="all" spc="550" baseline="0"/>
            </a:lvl2pPr>
            <a:lvl3pPr>
              <a:defRPr sz="1000" cap="all" spc="550" baseline="0"/>
            </a:lvl3pPr>
            <a:lvl4pPr>
              <a:defRPr sz="1000" cap="all" spc="550" baseline="0"/>
            </a:lvl4pPr>
            <a:lvl5pPr>
              <a:defRPr sz="1000" cap="all" spc="550" baseline="0"/>
            </a:lvl5pPr>
          </a:lstStyle>
          <a:p>
            <a:pPr lvl="0"/>
            <a:r>
              <a:rPr lang="en-US" noProof="0" dirty="0"/>
              <a:t>SUBHEADER 02</a:t>
            </a:r>
          </a:p>
        </p:txBody>
      </p:sp>
      <p:sp>
        <p:nvSpPr>
          <p:cNvPr id="19" name="Inhaltsplatzhalter 2">
            <a:extLst>
              <a:ext uri="{FF2B5EF4-FFF2-40B4-BE49-F238E27FC236}">
                <a16:creationId xmlns:a16="http://schemas.microsoft.com/office/drawing/2014/main" id="{B720C857-1E35-44B4-8143-84D9F34AF047}"/>
              </a:ext>
            </a:extLst>
          </p:cNvPr>
          <p:cNvSpPr>
            <a:spLocks noGrp="1"/>
          </p:cNvSpPr>
          <p:nvPr>
            <p:ph idx="17" hasCustomPrompt="1"/>
          </p:nvPr>
        </p:nvSpPr>
        <p:spPr>
          <a:xfrm>
            <a:off x="4715688" y="1780338"/>
            <a:ext cx="3960000" cy="2952000"/>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cxnSp>
        <p:nvCxnSpPr>
          <p:cNvPr id="20" name="Gerader Verbinder 19">
            <a:extLst>
              <a:ext uri="{FF2B5EF4-FFF2-40B4-BE49-F238E27FC236}">
                <a16:creationId xmlns:a16="http://schemas.microsoft.com/office/drawing/2014/main" id="{0801D24B-DA3B-4874-BAA5-01FCEB7CC094}"/>
              </a:ext>
            </a:extLst>
          </p:cNvPr>
          <p:cNvCxnSpPr/>
          <p:nvPr userDrawn="1"/>
        </p:nvCxnSpPr>
        <p:spPr>
          <a:xfrm>
            <a:off x="4714534" y="1632278"/>
            <a:ext cx="39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0B3AB4DC-2B27-4BBC-B870-D5D8ED2D7693}"/>
              </a:ext>
            </a:extLst>
          </p:cNvPr>
          <p:cNvSpPr>
            <a:spLocks noGrp="1"/>
          </p:cNvSpPr>
          <p:nvPr>
            <p:ph type="ftr" sz="quarter" idx="18"/>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5270582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box">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960000" cy="3312512"/>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8" name="Textplatzhalter 6">
            <a:extLst>
              <a:ext uri="{FF2B5EF4-FFF2-40B4-BE49-F238E27FC236}">
                <a16:creationId xmlns:a16="http://schemas.microsoft.com/office/drawing/2014/main" id="{502E6BAD-6E4E-4D07-A82A-780F6E283F64}"/>
              </a:ext>
            </a:extLst>
          </p:cNvPr>
          <p:cNvSpPr>
            <a:spLocks noGrp="1"/>
          </p:cNvSpPr>
          <p:nvPr>
            <p:ph type="body" sz="quarter" idx="18" hasCustomPrompt="1"/>
          </p:nvPr>
        </p:nvSpPr>
        <p:spPr>
          <a:xfrm>
            <a:off x="5651688" y="1276350"/>
            <a:ext cx="3024000" cy="3455988"/>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5"/>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19" name="Inhaltsplatzhalter 2">
            <a:extLst>
              <a:ext uri="{FF2B5EF4-FFF2-40B4-BE49-F238E27FC236}">
                <a16:creationId xmlns:a16="http://schemas.microsoft.com/office/drawing/2014/main" id="{CCF51AAC-2B62-472D-A6F1-28123342252B}"/>
              </a:ext>
            </a:extLst>
          </p:cNvPr>
          <p:cNvSpPr>
            <a:spLocks noGrp="1"/>
          </p:cNvSpPr>
          <p:nvPr>
            <p:ph idx="17" hasCustomPrompt="1"/>
          </p:nvPr>
        </p:nvSpPr>
        <p:spPr>
          <a:xfrm>
            <a:off x="5801685" y="1706179"/>
            <a:ext cx="2735999" cy="2848430"/>
          </a:xfrm>
          <a:prstGeom prst="rect">
            <a:avLst/>
          </a:prstGeom>
          <a:ln>
            <a:noFill/>
          </a:ln>
        </p:spPr>
        <p:txBody>
          <a:bodyPr/>
          <a:lstStyle>
            <a:lvl1pPr>
              <a:defRPr sz="1000">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vl6pPr>
              <a:defRPr sz="1000">
                <a:solidFill>
                  <a:schemeClr val="bg2"/>
                </a:solidFill>
              </a:defRPr>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4" name="Fußzeilenplatzhalter 3">
            <a:extLst>
              <a:ext uri="{FF2B5EF4-FFF2-40B4-BE49-F238E27FC236}">
                <a16:creationId xmlns:a16="http://schemas.microsoft.com/office/drawing/2014/main" id="{881FCF14-A16C-4C7A-8B50-9ADC5F9767E5}"/>
              </a:ext>
            </a:extLst>
          </p:cNvPr>
          <p:cNvSpPr>
            <a:spLocks noGrp="1"/>
          </p:cNvSpPr>
          <p:nvPr>
            <p:ph type="ftr" sz="quarter" idx="19"/>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644072245"/>
      </p:ext>
    </p:extLst>
  </p:cSld>
  <p:clrMapOvr>
    <a:masterClrMapping/>
  </p:clrMapOvr>
  <p:extLst>
    <p:ext uri="{DCECCB84-F9BA-43D5-87BE-67443E8EF086}">
      <p15:sldGuideLst xmlns:p15="http://schemas.microsoft.com/office/powerpoint/2012/main">
        <p15:guide id="1" orient="horz" pos="80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picture right">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008E9E1E-14EA-4E11-85B9-ED9C90AD9829}"/>
              </a:ext>
            </a:extLst>
          </p:cNvPr>
          <p:cNvSpPr>
            <a:spLocks noGrp="1"/>
          </p:cNvSpPr>
          <p:nvPr>
            <p:ph type="pic" sz="quarter" idx="13" hasCustomPrompt="1"/>
          </p:nvPr>
        </p:nvSpPr>
        <p:spPr>
          <a:xfrm>
            <a:off x="4845965" y="-3563"/>
            <a:ext cx="4305152" cy="5147058"/>
          </a:xfrm>
          <a:custGeom>
            <a:avLst/>
            <a:gdLst>
              <a:gd name="connsiteX0" fmla="*/ 3218185 w 4305152"/>
              <a:gd name="connsiteY0" fmla="*/ 3563 h 5147058"/>
              <a:gd name="connsiteX1" fmla="*/ 3218185 w 4305152"/>
              <a:gd name="connsiteY1" fmla="*/ 385163 h 5147058"/>
              <a:gd name="connsiteX2" fmla="*/ 3974185 w 4305152"/>
              <a:gd name="connsiteY2" fmla="*/ 385163 h 5147058"/>
              <a:gd name="connsiteX3" fmla="*/ 3974185 w 4305152"/>
              <a:gd name="connsiteY3" fmla="*/ 3563 h 5147058"/>
              <a:gd name="connsiteX4" fmla="*/ 4305152 w 4305152"/>
              <a:gd name="connsiteY4" fmla="*/ 0 h 5147058"/>
              <a:gd name="connsiteX5" fmla="*/ 4298036 w 4305152"/>
              <a:gd name="connsiteY5" fmla="*/ 5147058 h 5147058"/>
              <a:gd name="connsiteX6" fmla="*/ 0 w 4305152"/>
              <a:gd name="connsiteY6" fmla="*/ 5147058 h 5147058"/>
              <a:gd name="connsiteX7" fmla="*/ 1754083 w 4305152"/>
              <a:gd name="connsiteY7" fmla="*/ 3558 h 51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152" h="5147058">
                <a:moveTo>
                  <a:pt x="3218185" y="3563"/>
                </a:moveTo>
                <a:lnTo>
                  <a:pt x="3218185" y="385163"/>
                </a:lnTo>
                <a:lnTo>
                  <a:pt x="3974185" y="385163"/>
                </a:lnTo>
                <a:lnTo>
                  <a:pt x="3974185" y="3563"/>
                </a:lnTo>
                <a:close/>
                <a:moveTo>
                  <a:pt x="4305152" y="0"/>
                </a:moveTo>
                <a:lnTo>
                  <a:pt x="4298036" y="5147058"/>
                </a:lnTo>
                <a:lnTo>
                  <a:pt x="0" y="5147058"/>
                </a:lnTo>
                <a:lnTo>
                  <a:pt x="1754083" y="3558"/>
                </a:lnTo>
                <a:close/>
              </a:path>
            </a:pathLst>
          </a:custGeom>
          <a:ln>
            <a:noFill/>
          </a:ln>
        </p:spPr>
        <p:txBody>
          <a:bodyPr wrap="square" tIns="1980000" rIns="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4" name="Rechteck 3">
            <a:extLst>
              <a:ext uri="{FF2B5EF4-FFF2-40B4-BE49-F238E27FC236}">
                <a16:creationId xmlns:a16="http://schemas.microsoft.com/office/drawing/2014/main" id="{90056FCF-836C-44E2-9DF2-C633DABA911E}"/>
              </a:ext>
            </a:extLst>
          </p:cNvPr>
          <p:cNvSpPr/>
          <p:nvPr userDrawn="1"/>
        </p:nvSpPr>
        <p:spPr>
          <a:xfrm>
            <a:off x="0" y="0"/>
            <a:ext cx="6600551" cy="5143500"/>
          </a:xfrm>
          <a:custGeom>
            <a:avLst/>
            <a:gdLst>
              <a:gd name="connsiteX0" fmla="*/ 0 w 4844764"/>
              <a:gd name="connsiteY0" fmla="*/ 0 h 5143500"/>
              <a:gd name="connsiteX1" fmla="*/ 4844764 w 4844764"/>
              <a:gd name="connsiteY1" fmla="*/ 0 h 5143500"/>
              <a:gd name="connsiteX2" fmla="*/ 4844764 w 4844764"/>
              <a:gd name="connsiteY2" fmla="*/ 5143500 h 5143500"/>
              <a:gd name="connsiteX3" fmla="*/ 0 w 4844764"/>
              <a:gd name="connsiteY3" fmla="*/ 5143500 h 5143500"/>
              <a:gd name="connsiteX4" fmla="*/ 0 w 4844764"/>
              <a:gd name="connsiteY4" fmla="*/ 0 h 5143500"/>
              <a:gd name="connsiteX0" fmla="*/ 0 w 6600551"/>
              <a:gd name="connsiteY0" fmla="*/ 0 h 5143500"/>
              <a:gd name="connsiteX1" fmla="*/ 6600551 w 6600551"/>
              <a:gd name="connsiteY1" fmla="*/ 0 h 5143500"/>
              <a:gd name="connsiteX2" fmla="*/ 4844764 w 6600551"/>
              <a:gd name="connsiteY2" fmla="*/ 5143500 h 5143500"/>
              <a:gd name="connsiteX3" fmla="*/ 0 w 6600551"/>
              <a:gd name="connsiteY3" fmla="*/ 5143500 h 5143500"/>
              <a:gd name="connsiteX4" fmla="*/ 0 w 6600551"/>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551" h="5143500">
                <a:moveTo>
                  <a:pt x="0" y="0"/>
                </a:moveTo>
                <a:lnTo>
                  <a:pt x="6600551" y="0"/>
                </a:lnTo>
                <a:lnTo>
                  <a:pt x="4844764" y="5143500"/>
                </a:lnTo>
                <a:lnTo>
                  <a:pt x="0" y="5143500"/>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5" y="1419226"/>
            <a:ext cx="4305152" cy="3312512"/>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Fußzeilenplatzhalter 4">
            <a:extLst>
              <a:ext uri="{FF2B5EF4-FFF2-40B4-BE49-F238E27FC236}">
                <a16:creationId xmlns:a16="http://schemas.microsoft.com/office/drawing/2014/main" id="{512C81E2-A44C-49B2-B09C-AA570D2E4725}"/>
              </a:ext>
            </a:extLst>
          </p:cNvPr>
          <p:cNvSpPr>
            <a:spLocks noGrp="1"/>
          </p:cNvSpPr>
          <p:nvPr>
            <p:ph type="ftr" sz="quarter" idx="14"/>
          </p:nvPr>
        </p:nvSpPr>
        <p:spPr/>
        <p:txBody>
          <a:bodyPr/>
          <a:lstStyle/>
          <a:p>
            <a:r>
              <a:rPr lang="en-GB"/>
              <a:t>#AllAboutSports</a:t>
            </a:r>
            <a:endParaRPr lang="en-GB" dirty="0"/>
          </a:p>
        </p:txBody>
      </p:sp>
    </p:spTree>
    <p:extLst>
      <p:ext uri="{BB962C8B-B14F-4D97-AF65-F5344CB8AC3E}">
        <p14:creationId xmlns:p14="http://schemas.microsoft.com/office/powerpoint/2010/main" val="7489050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picture left">
    <p:bg>
      <p:bgPr>
        <a:solidFill>
          <a:schemeClr val="bg1"/>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056FCF-836C-44E2-9DF2-C633DABA911E}"/>
              </a:ext>
            </a:extLst>
          </p:cNvPr>
          <p:cNvSpPr/>
          <p:nvPr userDrawn="1"/>
        </p:nvSpPr>
        <p:spPr>
          <a:xfrm flipH="1" flipV="1">
            <a:off x="2542094" y="0"/>
            <a:ext cx="6600551" cy="5143500"/>
          </a:xfrm>
          <a:custGeom>
            <a:avLst/>
            <a:gdLst>
              <a:gd name="connsiteX0" fmla="*/ 0 w 4844764"/>
              <a:gd name="connsiteY0" fmla="*/ 0 h 5143500"/>
              <a:gd name="connsiteX1" fmla="*/ 4844764 w 4844764"/>
              <a:gd name="connsiteY1" fmla="*/ 0 h 5143500"/>
              <a:gd name="connsiteX2" fmla="*/ 4844764 w 4844764"/>
              <a:gd name="connsiteY2" fmla="*/ 5143500 h 5143500"/>
              <a:gd name="connsiteX3" fmla="*/ 0 w 4844764"/>
              <a:gd name="connsiteY3" fmla="*/ 5143500 h 5143500"/>
              <a:gd name="connsiteX4" fmla="*/ 0 w 4844764"/>
              <a:gd name="connsiteY4" fmla="*/ 0 h 5143500"/>
              <a:gd name="connsiteX0" fmla="*/ 0 w 6600551"/>
              <a:gd name="connsiteY0" fmla="*/ 0 h 5143500"/>
              <a:gd name="connsiteX1" fmla="*/ 6600551 w 6600551"/>
              <a:gd name="connsiteY1" fmla="*/ 0 h 5143500"/>
              <a:gd name="connsiteX2" fmla="*/ 4844764 w 6600551"/>
              <a:gd name="connsiteY2" fmla="*/ 5143500 h 5143500"/>
              <a:gd name="connsiteX3" fmla="*/ 0 w 6600551"/>
              <a:gd name="connsiteY3" fmla="*/ 5143500 h 5143500"/>
              <a:gd name="connsiteX4" fmla="*/ 0 w 6600551"/>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551" h="5143500">
                <a:moveTo>
                  <a:pt x="0" y="0"/>
                </a:moveTo>
                <a:lnTo>
                  <a:pt x="6600551" y="0"/>
                </a:lnTo>
                <a:lnTo>
                  <a:pt x="4844764" y="5143500"/>
                </a:lnTo>
                <a:lnTo>
                  <a:pt x="0" y="51435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464000" y="941082"/>
            <a:ext cx="4356150" cy="612000"/>
          </a:xfrm>
        </p:spPr>
        <p:txBody>
          <a:bodyPr/>
          <a:lstStyle>
            <a:lvl1pPr>
              <a:defRPr/>
            </a:lvl1pPr>
          </a:lstStyle>
          <a:p>
            <a:r>
              <a:rPr lang="en-US" noProof="0" dirty="0"/>
              <a:t>Click to edit master text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464000" y="1733244"/>
            <a:ext cx="4212000" cy="2988000"/>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en-US" noProof="0" smtClean="0"/>
              <a:t>‹#›</a:t>
            </a:fld>
            <a:endParaRPr lang="en-US" noProof="0"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464000" y="1358019"/>
            <a:ext cx="421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en-US" sz="600" b="1" noProof="0" dirty="0">
                <a:solidFill>
                  <a:srgbClr val="686A6E"/>
                </a:solidFill>
              </a:rPr>
              <a:t>© Infront Sports &amp; Media AG │</a:t>
            </a:r>
          </a:p>
        </p:txBody>
      </p:sp>
      <p:sp>
        <p:nvSpPr>
          <p:cNvPr id="11" name="Bildplatzhalter 3">
            <a:extLst>
              <a:ext uri="{FF2B5EF4-FFF2-40B4-BE49-F238E27FC236}">
                <a16:creationId xmlns:a16="http://schemas.microsoft.com/office/drawing/2014/main" id="{ED4666AA-DA85-4857-AB03-1DDA2BE68625}"/>
              </a:ext>
            </a:extLst>
          </p:cNvPr>
          <p:cNvSpPr>
            <a:spLocks noGrp="1"/>
          </p:cNvSpPr>
          <p:nvPr>
            <p:ph type="pic" sz="quarter" idx="17" hasCustomPrompt="1"/>
          </p:nvPr>
        </p:nvSpPr>
        <p:spPr>
          <a:xfrm>
            <a:off x="-1784" y="-6594"/>
            <a:ext cx="4297024" cy="5152292"/>
          </a:xfrm>
          <a:custGeom>
            <a:avLst/>
            <a:gdLst>
              <a:gd name="connsiteX0" fmla="*/ 714789 w 4288646"/>
              <a:gd name="connsiteY0" fmla="*/ 0 h 5143500"/>
              <a:gd name="connsiteX1" fmla="*/ 3573857 w 4288646"/>
              <a:gd name="connsiteY1" fmla="*/ 0 h 5143500"/>
              <a:gd name="connsiteX2" fmla="*/ 4288646 w 4288646"/>
              <a:gd name="connsiteY2" fmla="*/ 714789 h 5143500"/>
              <a:gd name="connsiteX3" fmla="*/ 4288646 w 4288646"/>
              <a:gd name="connsiteY3" fmla="*/ 5143500 h 5143500"/>
              <a:gd name="connsiteX4" fmla="*/ 4288646 w 4288646"/>
              <a:gd name="connsiteY4" fmla="*/ 5143500 h 5143500"/>
              <a:gd name="connsiteX5" fmla="*/ 0 w 4288646"/>
              <a:gd name="connsiteY5" fmla="*/ 5143500 h 5143500"/>
              <a:gd name="connsiteX6" fmla="*/ 0 w 4288646"/>
              <a:gd name="connsiteY6" fmla="*/ 5143500 h 5143500"/>
              <a:gd name="connsiteX7" fmla="*/ 0 w 4288646"/>
              <a:gd name="connsiteY7" fmla="*/ 714789 h 5143500"/>
              <a:gd name="connsiteX8" fmla="*/ 714789 w 4288646"/>
              <a:gd name="connsiteY8" fmla="*/ 0 h 5143500"/>
              <a:gd name="connsiteX0" fmla="*/ 714789 w 4288646"/>
              <a:gd name="connsiteY0" fmla="*/ 0 h 5145698"/>
              <a:gd name="connsiteX1" fmla="*/ 3573857 w 4288646"/>
              <a:gd name="connsiteY1" fmla="*/ 0 h 5145698"/>
              <a:gd name="connsiteX2" fmla="*/ 4288646 w 4288646"/>
              <a:gd name="connsiteY2" fmla="*/ 714789 h 5145698"/>
              <a:gd name="connsiteX3" fmla="*/ 4288646 w 4288646"/>
              <a:gd name="connsiteY3" fmla="*/ 5143500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576469 w 4288646"/>
              <a:gd name="connsiteY3" fmla="*/ 4908306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097289 w 4288646"/>
              <a:gd name="connsiteY3" fmla="*/ 4890721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266540 w 4288646"/>
              <a:gd name="connsiteY3" fmla="*/ 3020158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95240"/>
              <a:gd name="connsiteY0" fmla="*/ 0 h 5145698"/>
              <a:gd name="connsiteX1" fmla="*/ 3573857 w 4295240"/>
              <a:gd name="connsiteY1" fmla="*/ 0 h 5145698"/>
              <a:gd name="connsiteX2" fmla="*/ 4295240 w 4295240"/>
              <a:gd name="connsiteY2" fmla="*/ 414 h 5145698"/>
              <a:gd name="connsiteX3" fmla="*/ 3266540 w 4295240"/>
              <a:gd name="connsiteY3" fmla="*/ 3020158 h 5145698"/>
              <a:gd name="connsiteX4" fmla="*/ 2534580 w 4295240"/>
              <a:gd name="connsiteY4" fmla="*/ 5145698 h 5145698"/>
              <a:gd name="connsiteX5" fmla="*/ 0 w 4295240"/>
              <a:gd name="connsiteY5" fmla="*/ 5143500 h 5145698"/>
              <a:gd name="connsiteX6" fmla="*/ 0 w 4295240"/>
              <a:gd name="connsiteY6" fmla="*/ 5143500 h 5145698"/>
              <a:gd name="connsiteX7" fmla="*/ 0 w 4295240"/>
              <a:gd name="connsiteY7" fmla="*/ 714789 h 5145698"/>
              <a:gd name="connsiteX8" fmla="*/ 714789 w 4295240"/>
              <a:gd name="connsiteY8" fmla="*/ 0 h 5145698"/>
              <a:gd name="connsiteX0" fmla="*/ 0 w 4297024"/>
              <a:gd name="connsiteY0" fmla="*/ 0 h 5152292"/>
              <a:gd name="connsiteX1" fmla="*/ 3575641 w 4297024"/>
              <a:gd name="connsiteY1" fmla="*/ 6594 h 5152292"/>
              <a:gd name="connsiteX2" fmla="*/ 4297024 w 4297024"/>
              <a:gd name="connsiteY2" fmla="*/ 7008 h 5152292"/>
              <a:gd name="connsiteX3" fmla="*/ 3268324 w 4297024"/>
              <a:gd name="connsiteY3" fmla="*/ 3026752 h 5152292"/>
              <a:gd name="connsiteX4" fmla="*/ 2536364 w 4297024"/>
              <a:gd name="connsiteY4" fmla="*/ 5152292 h 5152292"/>
              <a:gd name="connsiteX5" fmla="*/ 1784 w 4297024"/>
              <a:gd name="connsiteY5" fmla="*/ 5150094 h 5152292"/>
              <a:gd name="connsiteX6" fmla="*/ 1784 w 4297024"/>
              <a:gd name="connsiteY6" fmla="*/ 5150094 h 5152292"/>
              <a:gd name="connsiteX7" fmla="*/ 1784 w 4297024"/>
              <a:gd name="connsiteY7" fmla="*/ 721383 h 5152292"/>
              <a:gd name="connsiteX8" fmla="*/ 0 w 4297024"/>
              <a:gd name="connsiteY8" fmla="*/ 0 h 51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7024" h="5152292">
                <a:moveTo>
                  <a:pt x="0" y="0"/>
                </a:moveTo>
                <a:lnTo>
                  <a:pt x="3575641" y="6594"/>
                </a:lnTo>
                <a:lnTo>
                  <a:pt x="4297024" y="7008"/>
                </a:lnTo>
                <a:lnTo>
                  <a:pt x="3268324" y="3026752"/>
                </a:lnTo>
                <a:lnTo>
                  <a:pt x="2536364" y="5152292"/>
                </a:lnTo>
                <a:lnTo>
                  <a:pt x="1784" y="5150094"/>
                </a:lnTo>
                <a:lnTo>
                  <a:pt x="1784" y="5150094"/>
                </a:lnTo>
                <a:lnTo>
                  <a:pt x="1784" y="721383"/>
                </a:lnTo>
                <a:cubicBezTo>
                  <a:pt x="1189" y="480922"/>
                  <a:pt x="595" y="240461"/>
                  <a:pt x="0" y="0"/>
                </a:cubicBezTo>
                <a:close/>
              </a:path>
            </a:pathLst>
          </a:custGeom>
          <a:ln>
            <a:noFill/>
          </a:ln>
        </p:spPr>
        <p:txBody>
          <a:bodyPr tIns="1980000"/>
          <a:lstStyle>
            <a:lvl1pPr algn="ctr">
              <a:defRPr/>
            </a:lvl1pPr>
          </a:lstStyle>
          <a:p>
            <a:r>
              <a:rPr lang="en-US" noProof="0" dirty="0"/>
              <a:t>Click icon to add picture</a:t>
            </a:r>
          </a:p>
        </p:txBody>
      </p:sp>
      <p:sp>
        <p:nvSpPr>
          <p:cNvPr id="5" name="Fußzeilenplatzhalter 4">
            <a:extLst>
              <a:ext uri="{FF2B5EF4-FFF2-40B4-BE49-F238E27FC236}">
                <a16:creationId xmlns:a16="http://schemas.microsoft.com/office/drawing/2014/main" id="{AEED9390-B914-419E-892A-0ABF6A5ACD9F}"/>
              </a:ext>
            </a:extLst>
          </p:cNvPr>
          <p:cNvSpPr>
            <a:spLocks noGrp="1"/>
          </p:cNvSpPr>
          <p:nvPr>
            <p:ph type="ftr" sz="quarter" idx="18"/>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6034911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umeration 01">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844000" y="1584000"/>
            <a:ext cx="2340000" cy="900000"/>
          </a:xfrm>
          <a:prstGeom prst="rect">
            <a:avLst/>
          </a:prstGeom>
        </p:spPr>
        <p:txBody>
          <a:bodyPr/>
          <a:lstStyle>
            <a:lvl4pPr marL="87313" indent="0">
              <a:buNone/>
              <a:defRPr/>
            </a:lvl4pPr>
          </a:lstStyle>
          <a:p>
            <a:pPr lvl="0"/>
            <a:r>
              <a:rPr lang="en-US" noProof="0" dirty="0"/>
              <a:t>Click to edit master text style</a:t>
            </a:r>
          </a:p>
          <a:p>
            <a:pPr lvl="1"/>
            <a:r>
              <a:rPr lang="en-US" noProof="0" dirty="0"/>
              <a:t>Second level</a:t>
            </a:r>
          </a:p>
          <a:p>
            <a:pPr lvl="2"/>
            <a:r>
              <a:rPr lang="en-US" noProof="0" dirty="0"/>
              <a:t>Third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0" name="Inhaltsplatzhalter 2">
            <a:extLst>
              <a:ext uri="{FF2B5EF4-FFF2-40B4-BE49-F238E27FC236}">
                <a16:creationId xmlns:a16="http://schemas.microsoft.com/office/drawing/2014/main" id="{69BC9582-78E4-4444-A703-E94DBDCFB335}"/>
              </a:ext>
            </a:extLst>
          </p:cNvPr>
          <p:cNvSpPr>
            <a:spLocks noGrp="1"/>
          </p:cNvSpPr>
          <p:nvPr>
            <p:ph idx="13" hasCustomPrompt="1"/>
          </p:nvPr>
        </p:nvSpPr>
        <p:spPr>
          <a:xfrm>
            <a:off x="2464230" y="2727373"/>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1" name="Inhaltsplatzhalter 2">
            <a:extLst>
              <a:ext uri="{FF2B5EF4-FFF2-40B4-BE49-F238E27FC236}">
                <a16:creationId xmlns:a16="http://schemas.microsoft.com/office/drawing/2014/main" id="{73AB19BC-BE89-4D1D-9262-2FB670F79F5E}"/>
              </a:ext>
            </a:extLst>
          </p:cNvPr>
          <p:cNvSpPr>
            <a:spLocks noGrp="1"/>
          </p:cNvSpPr>
          <p:nvPr>
            <p:ph idx="14" hasCustomPrompt="1"/>
          </p:nvPr>
        </p:nvSpPr>
        <p:spPr>
          <a:xfrm>
            <a:off x="2037990" y="3874539"/>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18" name="Textplatzhalter 4">
            <a:extLst>
              <a:ext uri="{FF2B5EF4-FFF2-40B4-BE49-F238E27FC236}">
                <a16:creationId xmlns:a16="http://schemas.microsoft.com/office/drawing/2014/main" id="{84CE57FF-25EA-4283-87A3-4B80B8B8972B}"/>
              </a:ext>
            </a:extLst>
          </p:cNvPr>
          <p:cNvSpPr>
            <a:spLocks noGrp="1"/>
          </p:cNvSpPr>
          <p:nvPr>
            <p:ph type="body" sz="quarter" idx="17" hasCustomPrompt="1"/>
          </p:nvPr>
        </p:nvSpPr>
        <p:spPr>
          <a:xfrm>
            <a:off x="1043608" y="3601284"/>
            <a:ext cx="802800" cy="763200"/>
          </a:xfrm>
          <a:prstGeom prst="pentagon">
            <a:avLst/>
          </a:prstGeom>
          <a:solidFill>
            <a:schemeClr val="accent5"/>
          </a:solidFill>
          <a:ln>
            <a:noFill/>
          </a:ln>
        </p:spPr>
        <p:txBody>
          <a:bodyPr tIns="0" bIns="0"/>
          <a:lstStyle>
            <a:lvl1pPr algn="ctr">
              <a:defRPr sz="3000" b="1">
                <a:solidFill>
                  <a:schemeClr val="bg1"/>
                </a:solidFill>
              </a:defRPr>
            </a:lvl1pPr>
          </a:lstStyle>
          <a:p>
            <a:pPr lvl="0"/>
            <a:r>
              <a:rPr lang="de-DE" dirty="0"/>
              <a:t>03</a:t>
            </a:r>
            <a:endParaRPr lang="en-GB" dirty="0"/>
          </a:p>
        </p:txBody>
      </p:sp>
      <p:sp>
        <p:nvSpPr>
          <p:cNvPr id="19" name="Textplatzhalter 4">
            <a:extLst>
              <a:ext uri="{FF2B5EF4-FFF2-40B4-BE49-F238E27FC236}">
                <a16:creationId xmlns:a16="http://schemas.microsoft.com/office/drawing/2014/main" id="{C0A1C096-C92D-4E0F-8BAE-36643B26E65F}"/>
              </a:ext>
            </a:extLst>
          </p:cNvPr>
          <p:cNvSpPr>
            <a:spLocks noGrp="1"/>
          </p:cNvSpPr>
          <p:nvPr>
            <p:ph type="body" sz="quarter" idx="16" hasCustomPrompt="1"/>
          </p:nvPr>
        </p:nvSpPr>
        <p:spPr>
          <a:xfrm>
            <a:off x="1468023" y="2469314"/>
            <a:ext cx="802800" cy="763200"/>
          </a:xfrm>
          <a:prstGeom prst="pentagon">
            <a:avLst/>
          </a:prstGeom>
          <a:solidFill>
            <a:srgbClr val="BAD1D7"/>
          </a:solidFill>
        </p:spPr>
        <p:txBody>
          <a:bodyPr tIns="0" bIns="0"/>
          <a:lstStyle>
            <a:lvl1pPr algn="ctr">
              <a:defRPr sz="3000" b="1">
                <a:solidFill>
                  <a:schemeClr val="bg1"/>
                </a:solidFill>
              </a:defRPr>
            </a:lvl1pPr>
          </a:lstStyle>
          <a:p>
            <a:pPr lvl="0"/>
            <a:r>
              <a:rPr lang="de-DE" dirty="0"/>
              <a:t>02</a:t>
            </a:r>
            <a:endParaRPr lang="en-GB" dirty="0"/>
          </a:p>
        </p:txBody>
      </p:sp>
      <p:sp>
        <p:nvSpPr>
          <p:cNvPr id="22" name="Textplatzhalter 4">
            <a:extLst>
              <a:ext uri="{FF2B5EF4-FFF2-40B4-BE49-F238E27FC236}">
                <a16:creationId xmlns:a16="http://schemas.microsoft.com/office/drawing/2014/main" id="{82712203-AFFE-43D7-9E37-537DAB914761}"/>
              </a:ext>
            </a:extLst>
          </p:cNvPr>
          <p:cNvSpPr>
            <a:spLocks noGrp="1"/>
          </p:cNvSpPr>
          <p:nvPr>
            <p:ph type="body" sz="quarter" idx="15" hasCustomPrompt="1"/>
          </p:nvPr>
        </p:nvSpPr>
        <p:spPr>
          <a:xfrm>
            <a:off x="1844583" y="1330600"/>
            <a:ext cx="802800" cy="763200"/>
          </a:xfrm>
          <a:prstGeom prst="pentagon">
            <a:avLst/>
          </a:prstGeom>
          <a:solidFill>
            <a:schemeClr val="accent2"/>
          </a:solidFill>
        </p:spPr>
        <p:txBody>
          <a:bodyPr tIns="0" bIns="0"/>
          <a:lstStyle>
            <a:lvl1pPr algn="ctr">
              <a:defRPr sz="3000" b="1">
                <a:solidFill>
                  <a:schemeClr val="bg1"/>
                </a:solidFill>
              </a:defRPr>
            </a:lvl1pPr>
          </a:lstStyle>
          <a:p>
            <a:pPr lvl="0"/>
            <a:r>
              <a:rPr lang="de-DE" dirty="0"/>
              <a:t>01</a:t>
            </a:r>
            <a:endParaRPr lang="en-GB" dirty="0"/>
          </a:p>
        </p:txBody>
      </p:sp>
      <p:sp>
        <p:nvSpPr>
          <p:cNvPr id="4" name="Fußzeilenplatzhalter 3">
            <a:extLst>
              <a:ext uri="{FF2B5EF4-FFF2-40B4-BE49-F238E27FC236}">
                <a16:creationId xmlns:a16="http://schemas.microsoft.com/office/drawing/2014/main" id="{578E18E7-2F67-4101-ADCD-2D98DA538AAD}"/>
              </a:ext>
            </a:extLst>
          </p:cNvPr>
          <p:cNvSpPr>
            <a:spLocks noGrp="1"/>
          </p:cNvSpPr>
          <p:nvPr>
            <p:ph type="ftr" sz="quarter" idx="18"/>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4143586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umeration 02">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844000" y="1584000"/>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8" name="Inhaltsplatzhalter 2">
            <a:extLst>
              <a:ext uri="{FF2B5EF4-FFF2-40B4-BE49-F238E27FC236}">
                <a16:creationId xmlns:a16="http://schemas.microsoft.com/office/drawing/2014/main" id="{1247BBC5-A61E-4001-9FBA-125072BB8ECE}"/>
              </a:ext>
            </a:extLst>
          </p:cNvPr>
          <p:cNvSpPr>
            <a:spLocks noGrp="1"/>
          </p:cNvSpPr>
          <p:nvPr>
            <p:ph idx="13" hasCustomPrompt="1"/>
          </p:nvPr>
        </p:nvSpPr>
        <p:spPr>
          <a:xfrm>
            <a:off x="2464230" y="2727373"/>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19" name="Inhaltsplatzhalter 2">
            <a:extLst>
              <a:ext uri="{FF2B5EF4-FFF2-40B4-BE49-F238E27FC236}">
                <a16:creationId xmlns:a16="http://schemas.microsoft.com/office/drawing/2014/main" id="{70615D39-3BB5-401C-AABA-A4E3485E58EA}"/>
              </a:ext>
            </a:extLst>
          </p:cNvPr>
          <p:cNvSpPr>
            <a:spLocks noGrp="1"/>
          </p:cNvSpPr>
          <p:nvPr>
            <p:ph idx="14" hasCustomPrompt="1"/>
          </p:nvPr>
        </p:nvSpPr>
        <p:spPr>
          <a:xfrm>
            <a:off x="2037990" y="3874539"/>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3" name="Inhaltsplatzhalter 2">
            <a:extLst>
              <a:ext uri="{FF2B5EF4-FFF2-40B4-BE49-F238E27FC236}">
                <a16:creationId xmlns:a16="http://schemas.microsoft.com/office/drawing/2014/main" id="{00C78152-9A8B-42E5-B566-F31E31C3B2BD}"/>
              </a:ext>
            </a:extLst>
          </p:cNvPr>
          <p:cNvSpPr>
            <a:spLocks noGrp="1"/>
          </p:cNvSpPr>
          <p:nvPr>
            <p:ph idx="15" hasCustomPrompt="1"/>
          </p:nvPr>
        </p:nvSpPr>
        <p:spPr>
          <a:xfrm>
            <a:off x="6467646" y="1584000"/>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4" name="Inhaltsplatzhalter 2">
            <a:extLst>
              <a:ext uri="{FF2B5EF4-FFF2-40B4-BE49-F238E27FC236}">
                <a16:creationId xmlns:a16="http://schemas.microsoft.com/office/drawing/2014/main" id="{1FB20E7A-1318-4094-A8BD-146C190C425B}"/>
              </a:ext>
            </a:extLst>
          </p:cNvPr>
          <p:cNvSpPr>
            <a:spLocks noGrp="1"/>
          </p:cNvSpPr>
          <p:nvPr>
            <p:ph idx="16" hasCustomPrompt="1"/>
          </p:nvPr>
        </p:nvSpPr>
        <p:spPr>
          <a:xfrm>
            <a:off x="6079373" y="2727373"/>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5" name="Inhaltsplatzhalter 2">
            <a:extLst>
              <a:ext uri="{FF2B5EF4-FFF2-40B4-BE49-F238E27FC236}">
                <a16:creationId xmlns:a16="http://schemas.microsoft.com/office/drawing/2014/main" id="{A9E60A14-29CD-4BC3-959D-C7918D3A4532}"/>
              </a:ext>
            </a:extLst>
          </p:cNvPr>
          <p:cNvSpPr>
            <a:spLocks noGrp="1"/>
          </p:cNvSpPr>
          <p:nvPr>
            <p:ph idx="17" hasCustomPrompt="1"/>
          </p:nvPr>
        </p:nvSpPr>
        <p:spPr>
          <a:xfrm>
            <a:off x="5666671" y="3874539"/>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6" name="Textplatzhalter 4">
            <a:extLst>
              <a:ext uri="{FF2B5EF4-FFF2-40B4-BE49-F238E27FC236}">
                <a16:creationId xmlns:a16="http://schemas.microsoft.com/office/drawing/2014/main" id="{B87B1D08-2F3D-4E26-9C70-88DBA8ED71F6}"/>
              </a:ext>
            </a:extLst>
          </p:cNvPr>
          <p:cNvSpPr>
            <a:spLocks noGrp="1"/>
          </p:cNvSpPr>
          <p:nvPr>
            <p:ph type="body" sz="quarter" idx="18" hasCustomPrompt="1"/>
          </p:nvPr>
        </p:nvSpPr>
        <p:spPr>
          <a:xfrm>
            <a:off x="1043608" y="3601284"/>
            <a:ext cx="802800" cy="763200"/>
          </a:xfrm>
          <a:prstGeom prst="pentagon">
            <a:avLst/>
          </a:prstGeom>
          <a:solidFill>
            <a:schemeClr val="accent5"/>
          </a:solidFill>
          <a:ln>
            <a:noFill/>
          </a:ln>
        </p:spPr>
        <p:txBody>
          <a:bodyPr tIns="0" bIns="0"/>
          <a:lstStyle>
            <a:lvl1pPr algn="ctr">
              <a:defRPr sz="3000" b="1">
                <a:solidFill>
                  <a:schemeClr val="bg1"/>
                </a:solidFill>
              </a:defRPr>
            </a:lvl1pPr>
          </a:lstStyle>
          <a:p>
            <a:pPr lvl="0"/>
            <a:r>
              <a:rPr lang="de-DE" dirty="0"/>
              <a:t>03</a:t>
            </a:r>
            <a:endParaRPr lang="en-GB" dirty="0"/>
          </a:p>
        </p:txBody>
      </p:sp>
      <p:sp>
        <p:nvSpPr>
          <p:cNvPr id="27" name="Textplatzhalter 4">
            <a:extLst>
              <a:ext uri="{FF2B5EF4-FFF2-40B4-BE49-F238E27FC236}">
                <a16:creationId xmlns:a16="http://schemas.microsoft.com/office/drawing/2014/main" id="{EEF61701-8262-446E-8F10-F75045B89BA0}"/>
              </a:ext>
            </a:extLst>
          </p:cNvPr>
          <p:cNvSpPr>
            <a:spLocks noGrp="1"/>
          </p:cNvSpPr>
          <p:nvPr>
            <p:ph type="body" sz="quarter" idx="19" hasCustomPrompt="1"/>
          </p:nvPr>
        </p:nvSpPr>
        <p:spPr>
          <a:xfrm>
            <a:off x="1468023" y="2469314"/>
            <a:ext cx="802800" cy="763200"/>
          </a:xfrm>
          <a:prstGeom prst="pentagon">
            <a:avLst/>
          </a:prstGeom>
          <a:solidFill>
            <a:srgbClr val="BAD1D7"/>
          </a:solidFill>
        </p:spPr>
        <p:txBody>
          <a:bodyPr tIns="0" bIns="0"/>
          <a:lstStyle>
            <a:lvl1pPr algn="ctr">
              <a:defRPr sz="3000" b="1">
                <a:solidFill>
                  <a:schemeClr val="bg1"/>
                </a:solidFill>
              </a:defRPr>
            </a:lvl1pPr>
          </a:lstStyle>
          <a:p>
            <a:pPr lvl="0"/>
            <a:r>
              <a:rPr lang="de-DE" dirty="0"/>
              <a:t>02</a:t>
            </a:r>
            <a:endParaRPr lang="en-GB" dirty="0"/>
          </a:p>
        </p:txBody>
      </p:sp>
      <p:sp>
        <p:nvSpPr>
          <p:cNvPr id="28" name="Textplatzhalter 4">
            <a:extLst>
              <a:ext uri="{FF2B5EF4-FFF2-40B4-BE49-F238E27FC236}">
                <a16:creationId xmlns:a16="http://schemas.microsoft.com/office/drawing/2014/main" id="{8D209D8C-EAB6-450B-96E5-3F0ABC63503B}"/>
              </a:ext>
            </a:extLst>
          </p:cNvPr>
          <p:cNvSpPr>
            <a:spLocks noGrp="1"/>
          </p:cNvSpPr>
          <p:nvPr>
            <p:ph type="body" sz="quarter" idx="20" hasCustomPrompt="1"/>
          </p:nvPr>
        </p:nvSpPr>
        <p:spPr>
          <a:xfrm>
            <a:off x="1844583" y="1330600"/>
            <a:ext cx="802800" cy="763200"/>
          </a:xfrm>
          <a:prstGeom prst="pentagon">
            <a:avLst/>
          </a:prstGeom>
          <a:solidFill>
            <a:schemeClr val="accent2"/>
          </a:solidFill>
        </p:spPr>
        <p:txBody>
          <a:bodyPr tIns="0" bIns="0"/>
          <a:lstStyle>
            <a:lvl1pPr algn="ctr">
              <a:defRPr sz="3000" b="1">
                <a:solidFill>
                  <a:schemeClr val="bg1"/>
                </a:solidFill>
              </a:defRPr>
            </a:lvl1pPr>
          </a:lstStyle>
          <a:p>
            <a:pPr lvl="0"/>
            <a:r>
              <a:rPr lang="de-DE" dirty="0"/>
              <a:t>01</a:t>
            </a:r>
            <a:endParaRPr lang="en-GB" dirty="0"/>
          </a:p>
        </p:txBody>
      </p:sp>
      <p:sp>
        <p:nvSpPr>
          <p:cNvPr id="29" name="Textplatzhalter 4">
            <a:extLst>
              <a:ext uri="{FF2B5EF4-FFF2-40B4-BE49-F238E27FC236}">
                <a16:creationId xmlns:a16="http://schemas.microsoft.com/office/drawing/2014/main" id="{A8727F2F-5AAE-4D35-95EB-1B8DD7CCCD83}"/>
              </a:ext>
            </a:extLst>
          </p:cNvPr>
          <p:cNvSpPr>
            <a:spLocks noGrp="1"/>
          </p:cNvSpPr>
          <p:nvPr>
            <p:ph type="body" sz="quarter" idx="21" hasCustomPrompt="1"/>
          </p:nvPr>
        </p:nvSpPr>
        <p:spPr>
          <a:xfrm>
            <a:off x="4672289" y="3600917"/>
            <a:ext cx="802800" cy="763200"/>
          </a:xfrm>
          <a:prstGeom prst="pentagon">
            <a:avLst/>
          </a:prstGeom>
          <a:solidFill>
            <a:schemeClr val="tx2"/>
          </a:solidFill>
          <a:ln>
            <a:noFill/>
          </a:ln>
        </p:spPr>
        <p:txBody>
          <a:bodyPr tIns="0" bIns="0"/>
          <a:lstStyle>
            <a:lvl1pPr algn="ctr">
              <a:defRPr sz="3000" b="1">
                <a:solidFill>
                  <a:schemeClr val="bg1"/>
                </a:solidFill>
              </a:defRPr>
            </a:lvl1pPr>
          </a:lstStyle>
          <a:p>
            <a:pPr lvl="0"/>
            <a:r>
              <a:rPr lang="de-DE" dirty="0"/>
              <a:t>06</a:t>
            </a:r>
            <a:endParaRPr lang="en-GB" dirty="0"/>
          </a:p>
        </p:txBody>
      </p:sp>
      <p:sp>
        <p:nvSpPr>
          <p:cNvPr id="30" name="Textplatzhalter 4">
            <a:extLst>
              <a:ext uri="{FF2B5EF4-FFF2-40B4-BE49-F238E27FC236}">
                <a16:creationId xmlns:a16="http://schemas.microsoft.com/office/drawing/2014/main" id="{DD443ECF-51D3-4EEC-912B-045DE48CA368}"/>
              </a:ext>
            </a:extLst>
          </p:cNvPr>
          <p:cNvSpPr>
            <a:spLocks noGrp="1"/>
          </p:cNvSpPr>
          <p:nvPr>
            <p:ph type="body" sz="quarter" idx="22" hasCustomPrompt="1"/>
          </p:nvPr>
        </p:nvSpPr>
        <p:spPr>
          <a:xfrm>
            <a:off x="5096704" y="2468947"/>
            <a:ext cx="802800" cy="763200"/>
          </a:xfrm>
          <a:prstGeom prst="pentagon">
            <a:avLst/>
          </a:prstGeom>
          <a:solidFill>
            <a:schemeClr val="bg1">
              <a:lumMod val="75000"/>
            </a:schemeClr>
          </a:solidFill>
        </p:spPr>
        <p:txBody>
          <a:bodyPr tIns="0" bIns="0"/>
          <a:lstStyle>
            <a:lvl1pPr algn="ctr">
              <a:defRPr sz="3000" b="1">
                <a:solidFill>
                  <a:schemeClr val="bg1"/>
                </a:solidFill>
              </a:defRPr>
            </a:lvl1pPr>
          </a:lstStyle>
          <a:p>
            <a:pPr lvl="0"/>
            <a:r>
              <a:rPr lang="de-DE" dirty="0"/>
              <a:t>05</a:t>
            </a:r>
            <a:endParaRPr lang="en-GB" dirty="0"/>
          </a:p>
        </p:txBody>
      </p:sp>
      <p:sp>
        <p:nvSpPr>
          <p:cNvPr id="31" name="Textplatzhalter 4">
            <a:extLst>
              <a:ext uri="{FF2B5EF4-FFF2-40B4-BE49-F238E27FC236}">
                <a16:creationId xmlns:a16="http://schemas.microsoft.com/office/drawing/2014/main" id="{3619B808-7468-4538-BA19-A6273049CC53}"/>
              </a:ext>
            </a:extLst>
          </p:cNvPr>
          <p:cNvSpPr>
            <a:spLocks noGrp="1"/>
          </p:cNvSpPr>
          <p:nvPr>
            <p:ph type="body" sz="quarter" idx="23" hasCustomPrompt="1"/>
          </p:nvPr>
        </p:nvSpPr>
        <p:spPr>
          <a:xfrm>
            <a:off x="5473264" y="1330233"/>
            <a:ext cx="802800" cy="763200"/>
          </a:xfrm>
          <a:prstGeom prst="pentagon">
            <a:avLst/>
          </a:prstGeom>
          <a:solidFill>
            <a:srgbClr val="68658A"/>
          </a:solidFill>
        </p:spPr>
        <p:txBody>
          <a:bodyPr tIns="0" bIns="0"/>
          <a:lstStyle>
            <a:lvl1pPr algn="ctr">
              <a:defRPr sz="3000" b="1">
                <a:solidFill>
                  <a:schemeClr val="bg1"/>
                </a:solidFill>
              </a:defRPr>
            </a:lvl1pPr>
          </a:lstStyle>
          <a:p>
            <a:pPr lvl="0"/>
            <a:r>
              <a:rPr lang="de-DE" dirty="0"/>
              <a:t>04</a:t>
            </a:r>
            <a:endParaRPr lang="en-GB" dirty="0"/>
          </a:p>
        </p:txBody>
      </p:sp>
      <p:sp>
        <p:nvSpPr>
          <p:cNvPr id="4" name="Fußzeilenplatzhalter 3">
            <a:extLst>
              <a:ext uri="{FF2B5EF4-FFF2-40B4-BE49-F238E27FC236}">
                <a16:creationId xmlns:a16="http://schemas.microsoft.com/office/drawing/2014/main" id="{9B973BF7-FA68-4447-979D-53E5074DCAAA}"/>
              </a:ext>
            </a:extLst>
          </p:cNvPr>
          <p:cNvSpPr>
            <a:spLocks noGrp="1"/>
          </p:cNvSpPr>
          <p:nvPr>
            <p:ph type="ftr" sz="quarter" idx="2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9467470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two boxes">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7" name="Inhaltsplatzhalter 2">
            <a:extLst>
              <a:ext uri="{FF2B5EF4-FFF2-40B4-BE49-F238E27FC236}">
                <a16:creationId xmlns:a16="http://schemas.microsoft.com/office/drawing/2014/main" id="{0F5CE197-CB0B-4A8D-8557-410F976B7CFE}"/>
              </a:ext>
            </a:extLst>
          </p:cNvPr>
          <p:cNvSpPr>
            <a:spLocks noGrp="1"/>
          </p:cNvSpPr>
          <p:nvPr>
            <p:ph idx="14" hasCustomPrompt="1"/>
          </p:nvPr>
        </p:nvSpPr>
        <p:spPr>
          <a:xfrm>
            <a:off x="2700001" y="3184338"/>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18" name="Textplatzhalter 15">
            <a:extLst>
              <a:ext uri="{FF2B5EF4-FFF2-40B4-BE49-F238E27FC236}">
                <a16:creationId xmlns:a16="http://schemas.microsoft.com/office/drawing/2014/main" id="{BCEF6216-F40C-4603-9F5E-ED91B062AE32}"/>
              </a:ext>
            </a:extLst>
          </p:cNvPr>
          <p:cNvSpPr>
            <a:spLocks noGrp="1"/>
          </p:cNvSpPr>
          <p:nvPr>
            <p:ph type="body" sz="quarter" idx="15" hasCustomPrompt="1"/>
          </p:nvPr>
        </p:nvSpPr>
        <p:spPr>
          <a:xfrm>
            <a:off x="431800" y="3184337"/>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08A4629-303D-4216-94A9-88556A9BF9BC}"/>
              </a:ext>
            </a:extLst>
          </p:cNvPr>
          <p:cNvSpPr>
            <a:spLocks noGrp="1"/>
          </p:cNvSpPr>
          <p:nvPr>
            <p:ph type="ftr" sz="quarter" idx="16"/>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8091436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four boxes">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719999"/>
          </a:xfrm>
          <a:prstGeom prst="rect">
            <a:avLst/>
          </a:prstGeom>
        </p:spPr>
        <p:txBody>
          <a:bodyPr/>
          <a:lstStyle>
            <a:lvl4pPr>
              <a:defRPr/>
            </a:lvl4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720000"/>
          </a:xfrm>
          <a:prstGeom prst="rect">
            <a:avLst/>
          </a:prstGeom>
          <a:solidFill>
            <a:schemeClr val="accent5"/>
          </a:solidFill>
        </p:spPr>
        <p:txBody>
          <a:bodyPr lIns="252000" tIns="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9" name="Inhaltsplatzhalter 2">
            <a:extLst>
              <a:ext uri="{FF2B5EF4-FFF2-40B4-BE49-F238E27FC236}">
                <a16:creationId xmlns:a16="http://schemas.microsoft.com/office/drawing/2014/main" id="{BB217E49-5AD1-452F-B099-00837ABD50CD}"/>
              </a:ext>
            </a:extLst>
          </p:cNvPr>
          <p:cNvSpPr>
            <a:spLocks noGrp="1"/>
          </p:cNvSpPr>
          <p:nvPr>
            <p:ph idx="14" hasCustomPrompt="1"/>
          </p:nvPr>
        </p:nvSpPr>
        <p:spPr>
          <a:xfrm>
            <a:off x="2700001" y="2284686"/>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0" name="Textplatzhalter 15">
            <a:extLst>
              <a:ext uri="{FF2B5EF4-FFF2-40B4-BE49-F238E27FC236}">
                <a16:creationId xmlns:a16="http://schemas.microsoft.com/office/drawing/2014/main" id="{D035F31F-C3D8-4E43-9934-402152A4B730}"/>
              </a:ext>
            </a:extLst>
          </p:cNvPr>
          <p:cNvSpPr>
            <a:spLocks noGrp="1"/>
          </p:cNvSpPr>
          <p:nvPr>
            <p:ph type="body" sz="quarter" idx="15" hasCustomPrompt="1"/>
          </p:nvPr>
        </p:nvSpPr>
        <p:spPr>
          <a:xfrm>
            <a:off x="431800" y="2284685"/>
            <a:ext cx="2052000" cy="720000"/>
          </a:xfrm>
          <a:prstGeom prst="rect">
            <a:avLst/>
          </a:prstGeom>
          <a:solidFill>
            <a:schemeClr val="tx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1" name="Inhaltsplatzhalter 2">
            <a:extLst>
              <a:ext uri="{FF2B5EF4-FFF2-40B4-BE49-F238E27FC236}">
                <a16:creationId xmlns:a16="http://schemas.microsoft.com/office/drawing/2014/main" id="{67CFEBA3-06E2-49EA-A3EA-BC97C3E98627}"/>
              </a:ext>
            </a:extLst>
          </p:cNvPr>
          <p:cNvSpPr>
            <a:spLocks noGrp="1"/>
          </p:cNvSpPr>
          <p:nvPr>
            <p:ph idx="16" hasCustomPrompt="1"/>
          </p:nvPr>
        </p:nvSpPr>
        <p:spPr>
          <a:xfrm>
            <a:off x="2700001" y="4012339"/>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2" name="Textplatzhalter 15">
            <a:extLst>
              <a:ext uri="{FF2B5EF4-FFF2-40B4-BE49-F238E27FC236}">
                <a16:creationId xmlns:a16="http://schemas.microsoft.com/office/drawing/2014/main" id="{AA70BB0F-4757-4AC9-BFC4-51024B236BD1}"/>
              </a:ext>
            </a:extLst>
          </p:cNvPr>
          <p:cNvSpPr>
            <a:spLocks noGrp="1"/>
          </p:cNvSpPr>
          <p:nvPr>
            <p:ph type="body" sz="quarter" idx="17" hasCustomPrompt="1"/>
          </p:nvPr>
        </p:nvSpPr>
        <p:spPr>
          <a:xfrm>
            <a:off x="431800" y="4012338"/>
            <a:ext cx="2052000" cy="720000"/>
          </a:xfrm>
          <a:prstGeom prst="rect">
            <a:avLst/>
          </a:prstGeom>
          <a:solidFill>
            <a:schemeClr val="accent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3" name="Inhaltsplatzhalter 2">
            <a:extLst>
              <a:ext uri="{FF2B5EF4-FFF2-40B4-BE49-F238E27FC236}">
                <a16:creationId xmlns:a16="http://schemas.microsoft.com/office/drawing/2014/main" id="{21FCB89C-8093-47D6-BD29-374816470D57}"/>
              </a:ext>
            </a:extLst>
          </p:cNvPr>
          <p:cNvSpPr>
            <a:spLocks noGrp="1"/>
          </p:cNvSpPr>
          <p:nvPr>
            <p:ph idx="18" hasCustomPrompt="1"/>
          </p:nvPr>
        </p:nvSpPr>
        <p:spPr>
          <a:xfrm>
            <a:off x="2700001" y="3146878"/>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4" name="Textplatzhalter 15">
            <a:extLst>
              <a:ext uri="{FF2B5EF4-FFF2-40B4-BE49-F238E27FC236}">
                <a16:creationId xmlns:a16="http://schemas.microsoft.com/office/drawing/2014/main" id="{C2740252-F706-4CD8-9CB6-C0F060503EFF}"/>
              </a:ext>
            </a:extLst>
          </p:cNvPr>
          <p:cNvSpPr>
            <a:spLocks noGrp="1"/>
          </p:cNvSpPr>
          <p:nvPr>
            <p:ph type="body" sz="quarter" idx="19" hasCustomPrompt="1"/>
          </p:nvPr>
        </p:nvSpPr>
        <p:spPr>
          <a:xfrm>
            <a:off x="431800" y="3146877"/>
            <a:ext cx="2052000" cy="720000"/>
          </a:xfrm>
          <a:prstGeom prst="rect">
            <a:avLst/>
          </a:prstGeom>
          <a:solidFill>
            <a:schemeClr val="accent3"/>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8F1832E-9F08-42FD-A028-EEEFE7BAB96B}"/>
              </a:ext>
            </a:extLst>
          </p:cNvPr>
          <p:cNvSpPr>
            <a:spLocks noGrp="1"/>
          </p:cNvSpPr>
          <p:nvPr>
            <p:ph type="ftr" sz="quarter" idx="2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7004379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ictur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800" y="4423578"/>
            <a:ext cx="1621656" cy="211223"/>
          </a:xfrm>
          <a:prstGeom prst="rect">
            <a:avLst/>
          </a:prstGeom>
        </p:spPr>
      </p:pic>
      <p:pic>
        <p:nvPicPr>
          <p:cNvPr id="14" name="Graphic 9">
            <a:extLst>
              <a:ext uri="{FF2B5EF4-FFF2-40B4-BE49-F238E27FC236}">
                <a16:creationId xmlns:a16="http://schemas.microsoft.com/office/drawing/2014/main" id="{211D252E-A012-487A-8355-D6C45AB066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08382" y="0"/>
            <a:ext cx="1311768" cy="660815"/>
          </a:xfrm>
          <a:prstGeom prst="rect">
            <a:avLst/>
          </a:prstGeom>
        </p:spPr>
      </p:pic>
      <p:sp>
        <p:nvSpPr>
          <p:cNvPr id="9" name="Bildplatzhalter 14">
            <a:extLst>
              <a:ext uri="{FF2B5EF4-FFF2-40B4-BE49-F238E27FC236}">
                <a16:creationId xmlns:a16="http://schemas.microsoft.com/office/drawing/2014/main" id="{48474463-6991-4CB0-82AD-15812DF6AF5A}"/>
              </a:ext>
            </a:extLst>
          </p:cNvPr>
          <p:cNvSpPr>
            <a:spLocks noGrp="1"/>
          </p:cNvSpPr>
          <p:nvPr>
            <p:ph type="pic" sz="quarter" idx="10" hasCustomPrompt="1"/>
          </p:nvPr>
        </p:nvSpPr>
        <p:spPr>
          <a:xfrm>
            <a:off x="3031958" y="-1840"/>
            <a:ext cx="6112041" cy="5146745"/>
          </a:xfrm>
          <a:custGeom>
            <a:avLst/>
            <a:gdLst>
              <a:gd name="connsiteX0" fmla="*/ 4476424 w 6112041"/>
              <a:gd name="connsiteY0" fmla="*/ 255 h 5146745"/>
              <a:gd name="connsiteX1" fmla="*/ 4476424 w 6112041"/>
              <a:gd name="connsiteY1" fmla="*/ 662655 h 5146745"/>
              <a:gd name="connsiteX2" fmla="*/ 5786824 w 6112041"/>
              <a:gd name="connsiteY2" fmla="*/ 662655 h 5146745"/>
              <a:gd name="connsiteX3" fmla="*/ 5786824 w 6112041"/>
              <a:gd name="connsiteY3" fmla="*/ 255 h 5146745"/>
              <a:gd name="connsiteX4" fmla="*/ 1775581 w 6112041"/>
              <a:gd name="connsiteY4" fmla="*/ 0 h 5146745"/>
              <a:gd name="connsiteX5" fmla="*/ 6111905 w 6112041"/>
              <a:gd name="connsiteY5" fmla="*/ 0 h 5146745"/>
              <a:gd name="connsiteX6" fmla="*/ 6112041 w 6112041"/>
              <a:gd name="connsiteY6" fmla="*/ 859341 h 5146745"/>
              <a:gd name="connsiteX7" fmla="*/ 6112041 w 6112041"/>
              <a:gd name="connsiteY7" fmla="*/ 5146745 h 5146745"/>
              <a:gd name="connsiteX8" fmla="*/ 0 w 6112041"/>
              <a:gd name="connsiteY8" fmla="*/ 5146745 h 5146745"/>
              <a:gd name="connsiteX9" fmla="*/ 1328364 w 6112041"/>
              <a:gd name="connsiteY9" fmla="*/ 1300902 h 5146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2041" h="5146745">
                <a:moveTo>
                  <a:pt x="4476424" y="255"/>
                </a:moveTo>
                <a:lnTo>
                  <a:pt x="4476424" y="662655"/>
                </a:lnTo>
                <a:lnTo>
                  <a:pt x="5786824" y="662655"/>
                </a:lnTo>
                <a:lnTo>
                  <a:pt x="5786824" y="255"/>
                </a:lnTo>
                <a:close/>
                <a:moveTo>
                  <a:pt x="1775581" y="0"/>
                </a:moveTo>
                <a:lnTo>
                  <a:pt x="6111905" y="0"/>
                </a:lnTo>
                <a:cubicBezTo>
                  <a:pt x="6111950" y="286447"/>
                  <a:pt x="6111996" y="572894"/>
                  <a:pt x="6112041" y="859341"/>
                </a:cubicBezTo>
                <a:lnTo>
                  <a:pt x="6112041" y="5146745"/>
                </a:lnTo>
                <a:lnTo>
                  <a:pt x="0" y="5146745"/>
                </a:lnTo>
                <a:lnTo>
                  <a:pt x="1328364" y="1300902"/>
                </a:lnTo>
                <a:close/>
              </a:path>
            </a:pathLst>
          </a:custGeom>
          <a:ln>
            <a:noFill/>
          </a:ln>
        </p:spPr>
        <p:txBody>
          <a:bodyPr wrap="square" tIns="1980000" anchor="t" anchorCtr="0">
            <a:noAutofit/>
          </a:bodyPr>
          <a:lstStyle>
            <a:lvl1pPr algn="ctr">
              <a:defRPr/>
            </a:lvl1pPr>
          </a:lstStyle>
          <a:p>
            <a:r>
              <a:rPr lang="en-US" noProof="0" dirty="0"/>
              <a:t>Click icon to add picture</a:t>
            </a:r>
          </a:p>
        </p:txBody>
      </p:sp>
    </p:spTree>
    <p:extLst>
      <p:ext uri="{BB962C8B-B14F-4D97-AF65-F5344CB8AC3E}">
        <p14:creationId xmlns:p14="http://schemas.microsoft.com/office/powerpoint/2010/main" val="21797030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ntent two box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CDC3B9-D320-4189-BA4B-AF3C30304657}"/>
              </a:ext>
            </a:extLst>
          </p:cNvPr>
          <p:cNvGraphicFramePr>
            <a:graphicFrameLocks noChangeAspect="1"/>
          </p:cNvGraphicFramePr>
          <p:nvPr userDrawn="1">
            <p:custDataLst>
              <p:tags r:id="rId1"/>
            </p:custDataLst>
            <p:extLst>
              <p:ext uri="{D42A27DB-BD31-4B8C-83A1-F6EECF244321}">
                <p14:modId xmlns:p14="http://schemas.microsoft.com/office/powerpoint/2010/main" val="70456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69CDC3B9-D320-4189-BA4B-AF3C303046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132E297-8F9C-4F8B-91CA-63A46F8B110E}"/>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14" name="Bildplatzhalter 14">
            <a:extLst>
              <a:ext uri="{FF2B5EF4-FFF2-40B4-BE49-F238E27FC236}">
                <a16:creationId xmlns:a16="http://schemas.microsoft.com/office/drawing/2014/main" id="{A275AB90-F077-4387-A7B6-9F06C7004082}"/>
              </a:ext>
            </a:extLst>
          </p:cNvPr>
          <p:cNvSpPr>
            <a:spLocks noGrp="1"/>
          </p:cNvSpPr>
          <p:nvPr>
            <p:ph type="pic" sz="quarter" idx="17" hasCustomPrompt="1"/>
          </p:nvPr>
        </p:nvSpPr>
        <p:spPr>
          <a:xfrm>
            <a:off x="4845965" y="-3563"/>
            <a:ext cx="4305152" cy="5147058"/>
          </a:xfrm>
          <a:custGeom>
            <a:avLst/>
            <a:gdLst>
              <a:gd name="connsiteX0" fmla="*/ 3218185 w 4305152"/>
              <a:gd name="connsiteY0" fmla="*/ 3563 h 5147058"/>
              <a:gd name="connsiteX1" fmla="*/ 3218185 w 4305152"/>
              <a:gd name="connsiteY1" fmla="*/ 385163 h 5147058"/>
              <a:gd name="connsiteX2" fmla="*/ 3974185 w 4305152"/>
              <a:gd name="connsiteY2" fmla="*/ 385163 h 5147058"/>
              <a:gd name="connsiteX3" fmla="*/ 3974185 w 4305152"/>
              <a:gd name="connsiteY3" fmla="*/ 3563 h 5147058"/>
              <a:gd name="connsiteX4" fmla="*/ 4305152 w 4305152"/>
              <a:gd name="connsiteY4" fmla="*/ 0 h 5147058"/>
              <a:gd name="connsiteX5" fmla="*/ 4298036 w 4305152"/>
              <a:gd name="connsiteY5" fmla="*/ 5147058 h 5147058"/>
              <a:gd name="connsiteX6" fmla="*/ 0 w 4305152"/>
              <a:gd name="connsiteY6" fmla="*/ 5147058 h 5147058"/>
              <a:gd name="connsiteX7" fmla="*/ 1754083 w 4305152"/>
              <a:gd name="connsiteY7" fmla="*/ 3558 h 51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152" h="5147058">
                <a:moveTo>
                  <a:pt x="3218185" y="3563"/>
                </a:moveTo>
                <a:lnTo>
                  <a:pt x="3218185" y="385163"/>
                </a:lnTo>
                <a:lnTo>
                  <a:pt x="3974185" y="385163"/>
                </a:lnTo>
                <a:lnTo>
                  <a:pt x="3974185" y="3563"/>
                </a:lnTo>
                <a:close/>
                <a:moveTo>
                  <a:pt x="4305152" y="0"/>
                </a:moveTo>
                <a:lnTo>
                  <a:pt x="4298036" y="5147058"/>
                </a:lnTo>
                <a:lnTo>
                  <a:pt x="0" y="5147058"/>
                </a:lnTo>
                <a:lnTo>
                  <a:pt x="1754083" y="3558"/>
                </a:lnTo>
                <a:close/>
              </a:path>
            </a:pathLst>
          </a:custGeom>
          <a:ln>
            <a:noFill/>
          </a:ln>
        </p:spPr>
        <p:txBody>
          <a:bodyPr wrap="square" tIns="1980000" rIns="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7" name="Inhaltsplatzhalter 2">
            <a:extLst>
              <a:ext uri="{FF2B5EF4-FFF2-40B4-BE49-F238E27FC236}">
                <a16:creationId xmlns:a16="http://schemas.microsoft.com/office/drawing/2014/main" id="{0F5CE197-CB0B-4A8D-8557-410F976B7CFE}"/>
              </a:ext>
            </a:extLst>
          </p:cNvPr>
          <p:cNvSpPr>
            <a:spLocks noGrp="1"/>
          </p:cNvSpPr>
          <p:nvPr>
            <p:ph idx="14" hasCustomPrompt="1"/>
          </p:nvPr>
        </p:nvSpPr>
        <p:spPr>
          <a:xfrm>
            <a:off x="2700001" y="3184338"/>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18" name="Textplatzhalter 15">
            <a:extLst>
              <a:ext uri="{FF2B5EF4-FFF2-40B4-BE49-F238E27FC236}">
                <a16:creationId xmlns:a16="http://schemas.microsoft.com/office/drawing/2014/main" id="{BCEF6216-F40C-4603-9F5E-ED91B062AE32}"/>
              </a:ext>
            </a:extLst>
          </p:cNvPr>
          <p:cNvSpPr>
            <a:spLocks noGrp="1"/>
          </p:cNvSpPr>
          <p:nvPr>
            <p:ph type="body" sz="quarter" idx="15" hasCustomPrompt="1"/>
          </p:nvPr>
        </p:nvSpPr>
        <p:spPr>
          <a:xfrm>
            <a:off x="431800" y="3184337"/>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08A4629-303D-4216-94A9-88556A9BF9BC}"/>
              </a:ext>
            </a:extLst>
          </p:cNvPr>
          <p:cNvSpPr>
            <a:spLocks noGrp="1"/>
          </p:cNvSpPr>
          <p:nvPr>
            <p:ph type="ftr" sz="quarter" idx="16"/>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1236407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four box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A8AD40-5489-4BA0-8E03-755C60FBFABA}"/>
              </a:ext>
            </a:extLst>
          </p:cNvPr>
          <p:cNvGraphicFramePr>
            <a:graphicFrameLocks noChangeAspect="1"/>
          </p:cNvGraphicFramePr>
          <p:nvPr userDrawn="1">
            <p:custDataLst>
              <p:tags r:id="rId1"/>
            </p:custDataLst>
            <p:extLst>
              <p:ext uri="{D42A27DB-BD31-4B8C-83A1-F6EECF244321}">
                <p14:modId xmlns:p14="http://schemas.microsoft.com/office/powerpoint/2010/main" val="1629887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A1A8AD40-5489-4BA0-8E03-755C60FBFA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04721A-7601-4728-BCC8-27F3EBAA2C8C}"/>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17" name="Bildplatzhalter 14">
            <a:extLst>
              <a:ext uri="{FF2B5EF4-FFF2-40B4-BE49-F238E27FC236}">
                <a16:creationId xmlns:a16="http://schemas.microsoft.com/office/drawing/2014/main" id="{2F1FFA89-9DC7-4CA4-83C9-92D01F2834F4}"/>
              </a:ext>
            </a:extLst>
          </p:cNvPr>
          <p:cNvSpPr>
            <a:spLocks noGrp="1"/>
          </p:cNvSpPr>
          <p:nvPr>
            <p:ph type="pic" sz="quarter" idx="21" hasCustomPrompt="1"/>
          </p:nvPr>
        </p:nvSpPr>
        <p:spPr>
          <a:xfrm>
            <a:off x="4845965" y="-3563"/>
            <a:ext cx="4305152" cy="5147058"/>
          </a:xfrm>
          <a:custGeom>
            <a:avLst/>
            <a:gdLst>
              <a:gd name="connsiteX0" fmla="*/ 3218185 w 4305152"/>
              <a:gd name="connsiteY0" fmla="*/ 3563 h 5147058"/>
              <a:gd name="connsiteX1" fmla="*/ 3218185 w 4305152"/>
              <a:gd name="connsiteY1" fmla="*/ 385163 h 5147058"/>
              <a:gd name="connsiteX2" fmla="*/ 3974185 w 4305152"/>
              <a:gd name="connsiteY2" fmla="*/ 385163 h 5147058"/>
              <a:gd name="connsiteX3" fmla="*/ 3974185 w 4305152"/>
              <a:gd name="connsiteY3" fmla="*/ 3563 h 5147058"/>
              <a:gd name="connsiteX4" fmla="*/ 4305152 w 4305152"/>
              <a:gd name="connsiteY4" fmla="*/ 0 h 5147058"/>
              <a:gd name="connsiteX5" fmla="*/ 4298036 w 4305152"/>
              <a:gd name="connsiteY5" fmla="*/ 5147058 h 5147058"/>
              <a:gd name="connsiteX6" fmla="*/ 0 w 4305152"/>
              <a:gd name="connsiteY6" fmla="*/ 5147058 h 5147058"/>
              <a:gd name="connsiteX7" fmla="*/ 1754083 w 4305152"/>
              <a:gd name="connsiteY7" fmla="*/ 3558 h 51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152" h="5147058">
                <a:moveTo>
                  <a:pt x="3218185" y="3563"/>
                </a:moveTo>
                <a:lnTo>
                  <a:pt x="3218185" y="385163"/>
                </a:lnTo>
                <a:lnTo>
                  <a:pt x="3974185" y="385163"/>
                </a:lnTo>
                <a:lnTo>
                  <a:pt x="3974185" y="3563"/>
                </a:lnTo>
                <a:close/>
                <a:moveTo>
                  <a:pt x="4305152" y="0"/>
                </a:moveTo>
                <a:lnTo>
                  <a:pt x="4298036" y="5147058"/>
                </a:lnTo>
                <a:lnTo>
                  <a:pt x="0" y="5147058"/>
                </a:lnTo>
                <a:lnTo>
                  <a:pt x="1754083" y="3558"/>
                </a:lnTo>
                <a:close/>
              </a:path>
            </a:pathLst>
          </a:custGeom>
          <a:ln>
            <a:noFill/>
          </a:ln>
        </p:spPr>
        <p:txBody>
          <a:bodyPr wrap="square" tIns="1980000" rIns="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719999"/>
          </a:xfrm>
          <a:prstGeom prst="rect">
            <a:avLst/>
          </a:prstGeom>
        </p:spPr>
        <p:txBody>
          <a:bodyPr/>
          <a:lstStyle>
            <a:lvl4pPr>
              <a:defRPr/>
            </a:lvl4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720000"/>
          </a:xfrm>
          <a:prstGeom prst="rect">
            <a:avLst/>
          </a:prstGeom>
          <a:solidFill>
            <a:schemeClr val="accent5"/>
          </a:solidFill>
        </p:spPr>
        <p:txBody>
          <a:bodyPr lIns="252000" tIns="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9" name="Inhaltsplatzhalter 2">
            <a:extLst>
              <a:ext uri="{FF2B5EF4-FFF2-40B4-BE49-F238E27FC236}">
                <a16:creationId xmlns:a16="http://schemas.microsoft.com/office/drawing/2014/main" id="{BB217E49-5AD1-452F-B099-00837ABD50CD}"/>
              </a:ext>
            </a:extLst>
          </p:cNvPr>
          <p:cNvSpPr>
            <a:spLocks noGrp="1"/>
          </p:cNvSpPr>
          <p:nvPr>
            <p:ph idx="14" hasCustomPrompt="1"/>
          </p:nvPr>
        </p:nvSpPr>
        <p:spPr>
          <a:xfrm>
            <a:off x="2700001" y="2284686"/>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0" name="Textplatzhalter 15">
            <a:extLst>
              <a:ext uri="{FF2B5EF4-FFF2-40B4-BE49-F238E27FC236}">
                <a16:creationId xmlns:a16="http://schemas.microsoft.com/office/drawing/2014/main" id="{D035F31F-C3D8-4E43-9934-402152A4B730}"/>
              </a:ext>
            </a:extLst>
          </p:cNvPr>
          <p:cNvSpPr>
            <a:spLocks noGrp="1"/>
          </p:cNvSpPr>
          <p:nvPr>
            <p:ph type="body" sz="quarter" idx="15" hasCustomPrompt="1"/>
          </p:nvPr>
        </p:nvSpPr>
        <p:spPr>
          <a:xfrm>
            <a:off x="431800" y="2284685"/>
            <a:ext cx="2052000" cy="720000"/>
          </a:xfrm>
          <a:prstGeom prst="rect">
            <a:avLst/>
          </a:prstGeom>
          <a:solidFill>
            <a:schemeClr val="tx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1" name="Inhaltsplatzhalter 2">
            <a:extLst>
              <a:ext uri="{FF2B5EF4-FFF2-40B4-BE49-F238E27FC236}">
                <a16:creationId xmlns:a16="http://schemas.microsoft.com/office/drawing/2014/main" id="{67CFEBA3-06E2-49EA-A3EA-BC97C3E98627}"/>
              </a:ext>
            </a:extLst>
          </p:cNvPr>
          <p:cNvSpPr>
            <a:spLocks noGrp="1"/>
          </p:cNvSpPr>
          <p:nvPr>
            <p:ph idx="16" hasCustomPrompt="1"/>
          </p:nvPr>
        </p:nvSpPr>
        <p:spPr>
          <a:xfrm>
            <a:off x="2700001" y="4012339"/>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2" name="Textplatzhalter 15">
            <a:extLst>
              <a:ext uri="{FF2B5EF4-FFF2-40B4-BE49-F238E27FC236}">
                <a16:creationId xmlns:a16="http://schemas.microsoft.com/office/drawing/2014/main" id="{AA70BB0F-4757-4AC9-BFC4-51024B236BD1}"/>
              </a:ext>
            </a:extLst>
          </p:cNvPr>
          <p:cNvSpPr>
            <a:spLocks noGrp="1"/>
          </p:cNvSpPr>
          <p:nvPr>
            <p:ph type="body" sz="quarter" idx="17" hasCustomPrompt="1"/>
          </p:nvPr>
        </p:nvSpPr>
        <p:spPr>
          <a:xfrm>
            <a:off x="431800" y="4012338"/>
            <a:ext cx="2052000" cy="720000"/>
          </a:xfrm>
          <a:prstGeom prst="rect">
            <a:avLst/>
          </a:prstGeom>
          <a:solidFill>
            <a:schemeClr val="accent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3" name="Inhaltsplatzhalter 2">
            <a:extLst>
              <a:ext uri="{FF2B5EF4-FFF2-40B4-BE49-F238E27FC236}">
                <a16:creationId xmlns:a16="http://schemas.microsoft.com/office/drawing/2014/main" id="{21FCB89C-8093-47D6-BD29-374816470D57}"/>
              </a:ext>
            </a:extLst>
          </p:cNvPr>
          <p:cNvSpPr>
            <a:spLocks noGrp="1"/>
          </p:cNvSpPr>
          <p:nvPr>
            <p:ph idx="18" hasCustomPrompt="1"/>
          </p:nvPr>
        </p:nvSpPr>
        <p:spPr>
          <a:xfrm>
            <a:off x="2700001" y="3146878"/>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4" name="Textplatzhalter 15">
            <a:extLst>
              <a:ext uri="{FF2B5EF4-FFF2-40B4-BE49-F238E27FC236}">
                <a16:creationId xmlns:a16="http://schemas.microsoft.com/office/drawing/2014/main" id="{C2740252-F706-4CD8-9CB6-C0F060503EFF}"/>
              </a:ext>
            </a:extLst>
          </p:cNvPr>
          <p:cNvSpPr>
            <a:spLocks noGrp="1"/>
          </p:cNvSpPr>
          <p:nvPr>
            <p:ph type="body" sz="quarter" idx="19" hasCustomPrompt="1"/>
          </p:nvPr>
        </p:nvSpPr>
        <p:spPr>
          <a:xfrm>
            <a:off x="431800" y="3146877"/>
            <a:ext cx="2052000" cy="720000"/>
          </a:xfrm>
          <a:prstGeom prst="rect">
            <a:avLst/>
          </a:prstGeom>
          <a:solidFill>
            <a:schemeClr val="accent3"/>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8F1832E-9F08-42FD-A028-EEEFE7BAB96B}"/>
              </a:ext>
            </a:extLst>
          </p:cNvPr>
          <p:cNvSpPr>
            <a:spLocks noGrp="1"/>
          </p:cNvSpPr>
          <p:nvPr>
            <p:ph type="ftr" sz="quarter" idx="2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4295290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ext and pictures 01">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600000" cy="1980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585939"/>
            <a:ext cx="3600000" cy="648000"/>
          </a:xfrm>
        </p:spPr>
        <p:txBody>
          <a:bodyPr/>
          <a:lstStyle>
            <a:lvl1pPr>
              <a:lnSpc>
                <a:spcPts val="2600"/>
              </a:lnSpc>
              <a:defRPr/>
            </a:lvl1pPr>
          </a:lstStyle>
          <a:p>
            <a:r>
              <a:rPr lang="en-US" noProof="0" dirty="0"/>
              <a:t>Click to edit master </a:t>
            </a:r>
            <a:br>
              <a:rPr lang="en-US" noProof="0" dirty="0"/>
            </a:br>
            <a:r>
              <a:rPr lang="en-US" noProof="0" dirty="0"/>
              <a:t>title style</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276943"/>
            <a:ext cx="360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646889" y="627062"/>
            <a:ext cx="4173260" cy="4255949"/>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
        <p:nvSpPr>
          <p:cNvPr id="22" name="Textplatzhalter 6">
            <a:extLst>
              <a:ext uri="{FF2B5EF4-FFF2-40B4-BE49-F238E27FC236}">
                <a16:creationId xmlns:a16="http://schemas.microsoft.com/office/drawing/2014/main" id="{C0B699A7-9FF9-4AC3-8041-956F2D3D7AB1}"/>
              </a:ext>
            </a:extLst>
          </p:cNvPr>
          <p:cNvSpPr>
            <a:spLocks noGrp="1"/>
          </p:cNvSpPr>
          <p:nvPr>
            <p:ph type="body" sz="quarter" idx="21" hasCustomPrompt="1"/>
          </p:nvPr>
        </p:nvSpPr>
        <p:spPr>
          <a:xfrm>
            <a:off x="431800" y="3623023"/>
            <a:ext cx="3600000" cy="1260000"/>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3"/>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25" name="Inhaltsplatzhalter 2">
            <a:extLst>
              <a:ext uri="{FF2B5EF4-FFF2-40B4-BE49-F238E27FC236}">
                <a16:creationId xmlns:a16="http://schemas.microsoft.com/office/drawing/2014/main" id="{2D28AD88-647A-4E27-8DA9-AE30B82AB3BA}"/>
              </a:ext>
            </a:extLst>
          </p:cNvPr>
          <p:cNvSpPr>
            <a:spLocks noGrp="1"/>
          </p:cNvSpPr>
          <p:nvPr>
            <p:ph idx="20" hasCustomPrompt="1"/>
          </p:nvPr>
        </p:nvSpPr>
        <p:spPr>
          <a:xfrm>
            <a:off x="571062" y="4053490"/>
            <a:ext cx="3348000" cy="82953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marL="87313" indent="0">
              <a:buNone/>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4" name="Fußzeilenplatzhalter 3">
            <a:extLst>
              <a:ext uri="{FF2B5EF4-FFF2-40B4-BE49-F238E27FC236}">
                <a16:creationId xmlns:a16="http://schemas.microsoft.com/office/drawing/2014/main" id="{49454675-EC99-4B9B-B39C-EF947840422F}"/>
              </a:ext>
            </a:extLst>
          </p:cNvPr>
          <p:cNvSpPr>
            <a:spLocks noGrp="1"/>
          </p:cNvSpPr>
          <p:nvPr>
            <p:ph type="ftr" sz="quarter" idx="22"/>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9253272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ext and pictures 01">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600000" cy="1980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585939"/>
            <a:ext cx="3600000" cy="648000"/>
          </a:xfrm>
        </p:spPr>
        <p:txBody>
          <a:bodyPr/>
          <a:lstStyle>
            <a:lvl1pPr>
              <a:lnSpc>
                <a:spcPts val="2600"/>
              </a:lnSpc>
              <a:defRPr/>
            </a:lvl1pPr>
          </a:lstStyle>
          <a:p>
            <a:r>
              <a:rPr lang="en-US" noProof="0" dirty="0"/>
              <a:t>Click to edit master </a:t>
            </a:r>
            <a:br>
              <a:rPr lang="en-US" noProof="0" dirty="0"/>
            </a:br>
            <a:r>
              <a:rPr lang="en-US" noProof="0" dirty="0"/>
              <a:t>title style</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276943"/>
            <a:ext cx="360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646889" y="627062"/>
            <a:ext cx="4173260" cy="2046465"/>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
        <p:nvSpPr>
          <p:cNvPr id="22" name="Textplatzhalter 6">
            <a:extLst>
              <a:ext uri="{FF2B5EF4-FFF2-40B4-BE49-F238E27FC236}">
                <a16:creationId xmlns:a16="http://schemas.microsoft.com/office/drawing/2014/main" id="{C0B699A7-9FF9-4AC3-8041-956F2D3D7AB1}"/>
              </a:ext>
            </a:extLst>
          </p:cNvPr>
          <p:cNvSpPr>
            <a:spLocks noGrp="1"/>
          </p:cNvSpPr>
          <p:nvPr>
            <p:ph type="body" sz="quarter" idx="21" hasCustomPrompt="1"/>
          </p:nvPr>
        </p:nvSpPr>
        <p:spPr>
          <a:xfrm>
            <a:off x="431800" y="3623023"/>
            <a:ext cx="3600000" cy="1260000"/>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3"/>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25" name="Inhaltsplatzhalter 2">
            <a:extLst>
              <a:ext uri="{FF2B5EF4-FFF2-40B4-BE49-F238E27FC236}">
                <a16:creationId xmlns:a16="http://schemas.microsoft.com/office/drawing/2014/main" id="{2D28AD88-647A-4E27-8DA9-AE30B82AB3BA}"/>
              </a:ext>
            </a:extLst>
          </p:cNvPr>
          <p:cNvSpPr>
            <a:spLocks noGrp="1"/>
          </p:cNvSpPr>
          <p:nvPr>
            <p:ph idx="20" hasCustomPrompt="1"/>
          </p:nvPr>
        </p:nvSpPr>
        <p:spPr>
          <a:xfrm>
            <a:off x="571062" y="4053490"/>
            <a:ext cx="3348000" cy="82953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marL="87313" indent="0">
              <a:buNone/>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4" name="Fußzeilenplatzhalter 3">
            <a:extLst>
              <a:ext uri="{FF2B5EF4-FFF2-40B4-BE49-F238E27FC236}">
                <a16:creationId xmlns:a16="http://schemas.microsoft.com/office/drawing/2014/main" id="{49454675-EC99-4B9B-B39C-EF947840422F}"/>
              </a:ext>
            </a:extLst>
          </p:cNvPr>
          <p:cNvSpPr>
            <a:spLocks noGrp="1"/>
          </p:cNvSpPr>
          <p:nvPr>
            <p:ph type="ftr" sz="quarter" idx="22"/>
          </p:nvPr>
        </p:nvSpPr>
        <p:spPr/>
        <p:txBody>
          <a:bodyPr/>
          <a:lstStyle>
            <a:lvl1pPr>
              <a:defRPr>
                <a:solidFill>
                  <a:schemeClr val="tx2"/>
                </a:solidFill>
              </a:defRPr>
            </a:lvl1pPr>
          </a:lstStyle>
          <a:p>
            <a:r>
              <a:rPr lang="en-GB"/>
              <a:t>#AllAboutSports</a:t>
            </a:r>
            <a:endParaRPr lang="en-GB" dirty="0"/>
          </a:p>
        </p:txBody>
      </p:sp>
      <p:sp>
        <p:nvSpPr>
          <p:cNvPr id="10" name="Bildplatzhalter 4">
            <a:extLst>
              <a:ext uri="{FF2B5EF4-FFF2-40B4-BE49-F238E27FC236}">
                <a16:creationId xmlns:a16="http://schemas.microsoft.com/office/drawing/2014/main" id="{EFD3D2BA-8499-4CFF-A0B3-8330545CBABB}"/>
              </a:ext>
            </a:extLst>
          </p:cNvPr>
          <p:cNvSpPr>
            <a:spLocks noGrp="1"/>
          </p:cNvSpPr>
          <p:nvPr>
            <p:ph type="pic" sz="quarter" idx="23" hasCustomPrompt="1"/>
          </p:nvPr>
        </p:nvSpPr>
        <p:spPr>
          <a:xfrm>
            <a:off x="4646889" y="2836558"/>
            <a:ext cx="4173260" cy="2046465"/>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Tree>
    <p:extLst>
      <p:ext uri="{BB962C8B-B14F-4D97-AF65-F5344CB8AC3E}">
        <p14:creationId xmlns:p14="http://schemas.microsoft.com/office/powerpoint/2010/main" val="6343517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and pictures 01">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D90921AE-8DFE-4DA1-88BB-ED3A205874F2}"/>
              </a:ext>
            </a:extLst>
          </p:cNvPr>
          <p:cNvSpPr>
            <a:spLocks noGrp="1"/>
          </p:cNvSpPr>
          <p:nvPr>
            <p:ph type="pic" sz="quarter" idx="18" hasCustomPrompt="1"/>
          </p:nvPr>
        </p:nvSpPr>
        <p:spPr>
          <a:xfrm>
            <a:off x="6948000" y="3703500"/>
            <a:ext cx="2196000" cy="1440000"/>
          </a:xfrm>
          <a:prstGeom prst="rect">
            <a:avLst/>
          </a:prstGeom>
        </p:spPr>
        <p:txBody>
          <a:bodyPr tIns="252000"/>
          <a:lstStyle>
            <a:lvl1pPr algn="ctr">
              <a:defRPr/>
            </a:lvl1pPr>
          </a:lstStyle>
          <a:p>
            <a:r>
              <a:rPr lang="en-GB" dirty="0"/>
              <a:t>Click icon to add pictur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600000" cy="1980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585939"/>
            <a:ext cx="3600000" cy="648000"/>
          </a:xfrm>
        </p:spPr>
        <p:txBody>
          <a:bodyPr/>
          <a:lstStyle>
            <a:lvl1pPr>
              <a:lnSpc>
                <a:spcPts val="2600"/>
              </a:lnSpc>
              <a:defRPr/>
            </a:lvl1pPr>
          </a:lstStyle>
          <a:p>
            <a:r>
              <a:rPr lang="en-US" noProof="0" dirty="0"/>
              <a:t>Click to edit master </a:t>
            </a:r>
            <a:br>
              <a:rPr lang="en-US" noProof="0" dirty="0"/>
            </a:br>
            <a:r>
              <a:rPr lang="en-US" noProof="0" dirty="0"/>
              <a:t>title style</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276943"/>
            <a:ext cx="360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646889" y="627063"/>
            <a:ext cx="2196000" cy="1440000"/>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
        <p:nvSpPr>
          <p:cNvPr id="16" name="Bildplatzhalter 4">
            <a:extLst>
              <a:ext uri="{FF2B5EF4-FFF2-40B4-BE49-F238E27FC236}">
                <a16:creationId xmlns:a16="http://schemas.microsoft.com/office/drawing/2014/main" id="{650108E6-DFFA-4143-94C4-12B34C548FF6}"/>
              </a:ext>
            </a:extLst>
          </p:cNvPr>
          <p:cNvSpPr>
            <a:spLocks noGrp="1"/>
          </p:cNvSpPr>
          <p:nvPr>
            <p:ph type="pic" sz="quarter" idx="14" hasCustomPrompt="1"/>
          </p:nvPr>
        </p:nvSpPr>
        <p:spPr>
          <a:xfrm>
            <a:off x="6946645" y="627063"/>
            <a:ext cx="2196000" cy="1440000"/>
          </a:xfrm>
          <a:prstGeom prst="rect">
            <a:avLst/>
          </a:prstGeom>
        </p:spPr>
        <p:txBody>
          <a:bodyPr tIns="252000"/>
          <a:lstStyle>
            <a:lvl1pPr algn="ctr">
              <a:defRPr/>
            </a:lvl1pPr>
          </a:lstStyle>
          <a:p>
            <a:r>
              <a:rPr lang="en-GB" dirty="0"/>
              <a:t>Click icon to add picture</a:t>
            </a:r>
          </a:p>
        </p:txBody>
      </p:sp>
      <p:sp>
        <p:nvSpPr>
          <p:cNvPr id="17" name="Bildplatzhalter 4">
            <a:extLst>
              <a:ext uri="{FF2B5EF4-FFF2-40B4-BE49-F238E27FC236}">
                <a16:creationId xmlns:a16="http://schemas.microsoft.com/office/drawing/2014/main" id="{F872D036-A6D2-4FA4-B7D2-B9F45A3160F8}"/>
              </a:ext>
            </a:extLst>
          </p:cNvPr>
          <p:cNvSpPr>
            <a:spLocks noGrp="1"/>
          </p:cNvSpPr>
          <p:nvPr>
            <p:ph type="pic" sz="quarter" idx="15" hasCustomPrompt="1"/>
          </p:nvPr>
        </p:nvSpPr>
        <p:spPr>
          <a:xfrm>
            <a:off x="4646889" y="2165281"/>
            <a:ext cx="2196000" cy="1440000"/>
          </a:xfrm>
          <a:prstGeom prst="rect">
            <a:avLst/>
          </a:prstGeom>
        </p:spPr>
        <p:txBody>
          <a:bodyPr tIns="252000"/>
          <a:lstStyle>
            <a:lvl1pPr algn="ctr">
              <a:defRPr/>
            </a:lvl1pPr>
          </a:lstStyle>
          <a:p>
            <a:r>
              <a:rPr lang="en-GB" dirty="0"/>
              <a:t>Click icon to add picture</a:t>
            </a:r>
          </a:p>
        </p:txBody>
      </p:sp>
      <p:sp>
        <p:nvSpPr>
          <p:cNvPr id="18" name="Bildplatzhalter 4">
            <a:extLst>
              <a:ext uri="{FF2B5EF4-FFF2-40B4-BE49-F238E27FC236}">
                <a16:creationId xmlns:a16="http://schemas.microsoft.com/office/drawing/2014/main" id="{47A5E027-4BD0-4108-87DE-EF0C9808591D}"/>
              </a:ext>
            </a:extLst>
          </p:cNvPr>
          <p:cNvSpPr>
            <a:spLocks noGrp="1"/>
          </p:cNvSpPr>
          <p:nvPr>
            <p:ph type="pic" sz="quarter" idx="16" hasCustomPrompt="1"/>
          </p:nvPr>
        </p:nvSpPr>
        <p:spPr>
          <a:xfrm>
            <a:off x="6946645" y="2165281"/>
            <a:ext cx="2196000" cy="1440000"/>
          </a:xfrm>
          <a:prstGeom prst="rect">
            <a:avLst/>
          </a:prstGeom>
        </p:spPr>
        <p:txBody>
          <a:bodyPr tIns="252000"/>
          <a:lstStyle>
            <a:lvl1pPr algn="ctr">
              <a:defRPr/>
            </a:lvl1pPr>
          </a:lstStyle>
          <a:p>
            <a:r>
              <a:rPr lang="en-GB" dirty="0"/>
              <a:t>Click icon to add picture</a:t>
            </a:r>
          </a:p>
        </p:txBody>
      </p:sp>
      <p:sp>
        <p:nvSpPr>
          <p:cNvPr id="19" name="Bildplatzhalter 4">
            <a:extLst>
              <a:ext uri="{FF2B5EF4-FFF2-40B4-BE49-F238E27FC236}">
                <a16:creationId xmlns:a16="http://schemas.microsoft.com/office/drawing/2014/main" id="{0D451ECA-BC23-481F-A8D2-5B957EEA5E11}"/>
              </a:ext>
            </a:extLst>
          </p:cNvPr>
          <p:cNvSpPr>
            <a:spLocks noGrp="1"/>
          </p:cNvSpPr>
          <p:nvPr>
            <p:ph type="pic" sz="quarter" idx="17" hasCustomPrompt="1"/>
          </p:nvPr>
        </p:nvSpPr>
        <p:spPr>
          <a:xfrm>
            <a:off x="4648244" y="3703500"/>
            <a:ext cx="2196000" cy="1440000"/>
          </a:xfrm>
          <a:prstGeom prst="rect">
            <a:avLst/>
          </a:prstGeom>
        </p:spPr>
        <p:txBody>
          <a:bodyPr tIns="252000"/>
          <a:lstStyle>
            <a:lvl1pPr algn="ctr">
              <a:defRPr/>
            </a:lvl1pPr>
          </a:lstStyle>
          <a:p>
            <a:r>
              <a:rPr lang="en-GB" dirty="0"/>
              <a:t>Click icon to add picture</a:t>
            </a:r>
          </a:p>
        </p:txBody>
      </p:sp>
      <p:sp>
        <p:nvSpPr>
          <p:cNvPr id="22" name="Textplatzhalter 6">
            <a:extLst>
              <a:ext uri="{FF2B5EF4-FFF2-40B4-BE49-F238E27FC236}">
                <a16:creationId xmlns:a16="http://schemas.microsoft.com/office/drawing/2014/main" id="{C0B699A7-9FF9-4AC3-8041-956F2D3D7AB1}"/>
              </a:ext>
            </a:extLst>
          </p:cNvPr>
          <p:cNvSpPr>
            <a:spLocks noGrp="1"/>
          </p:cNvSpPr>
          <p:nvPr>
            <p:ph type="body" sz="quarter" idx="21" hasCustomPrompt="1"/>
          </p:nvPr>
        </p:nvSpPr>
        <p:spPr>
          <a:xfrm>
            <a:off x="431800" y="3623023"/>
            <a:ext cx="3600000" cy="1260000"/>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3"/>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25" name="Inhaltsplatzhalter 2">
            <a:extLst>
              <a:ext uri="{FF2B5EF4-FFF2-40B4-BE49-F238E27FC236}">
                <a16:creationId xmlns:a16="http://schemas.microsoft.com/office/drawing/2014/main" id="{2D28AD88-647A-4E27-8DA9-AE30B82AB3BA}"/>
              </a:ext>
            </a:extLst>
          </p:cNvPr>
          <p:cNvSpPr>
            <a:spLocks noGrp="1"/>
          </p:cNvSpPr>
          <p:nvPr>
            <p:ph idx="20" hasCustomPrompt="1"/>
          </p:nvPr>
        </p:nvSpPr>
        <p:spPr>
          <a:xfrm>
            <a:off x="571062" y="4053490"/>
            <a:ext cx="3348000" cy="82953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marL="87313" indent="0">
              <a:buNone/>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4" name="Fußzeilenplatzhalter 3">
            <a:extLst>
              <a:ext uri="{FF2B5EF4-FFF2-40B4-BE49-F238E27FC236}">
                <a16:creationId xmlns:a16="http://schemas.microsoft.com/office/drawing/2014/main" id="{49454675-EC99-4B9B-B39C-EF947840422F}"/>
              </a:ext>
            </a:extLst>
          </p:cNvPr>
          <p:cNvSpPr>
            <a:spLocks noGrp="1"/>
          </p:cNvSpPr>
          <p:nvPr>
            <p:ph type="ftr" sz="quarter" idx="22"/>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2965340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and pictures 02">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D90921AE-8DFE-4DA1-88BB-ED3A205874F2}"/>
              </a:ext>
            </a:extLst>
          </p:cNvPr>
          <p:cNvSpPr>
            <a:spLocks noGrp="1"/>
          </p:cNvSpPr>
          <p:nvPr>
            <p:ph type="pic" sz="quarter" idx="18" hasCustomPrompt="1"/>
          </p:nvPr>
        </p:nvSpPr>
        <p:spPr>
          <a:xfrm>
            <a:off x="6509541" y="3094176"/>
            <a:ext cx="2634458" cy="2052000"/>
          </a:xfrm>
          <a:prstGeom prst="rect">
            <a:avLst/>
          </a:prstGeom>
        </p:spPr>
        <p:txBody>
          <a:bodyPr tIns="468000"/>
          <a:lstStyle>
            <a:lvl1pPr algn="ctr">
              <a:defRPr/>
            </a:lvl1pPr>
          </a:lstStyle>
          <a:p>
            <a:r>
              <a:rPr lang="en-GB" dirty="0"/>
              <a:t>Click icon to add picture</a:t>
            </a:r>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2339999" y="1276350"/>
            <a:ext cx="2052000" cy="1692000"/>
          </a:xfrm>
          <a:prstGeom prst="rect">
            <a:avLst/>
          </a:prstGeom>
        </p:spPr>
        <p:txBody>
          <a:bodyPr tIns="252000"/>
          <a:lstStyle>
            <a:lvl1pPr algn="ctr">
              <a:defRPr/>
            </a:lvl1pPr>
          </a:lstStyle>
          <a:p>
            <a:r>
              <a:rPr lang="en-GB" dirty="0"/>
              <a:t>Click icon to add picture</a:t>
            </a:r>
          </a:p>
        </p:txBody>
      </p:sp>
      <p:sp>
        <p:nvSpPr>
          <p:cNvPr id="16" name="Bildplatzhalter 4">
            <a:extLst>
              <a:ext uri="{FF2B5EF4-FFF2-40B4-BE49-F238E27FC236}">
                <a16:creationId xmlns:a16="http://schemas.microsoft.com/office/drawing/2014/main" id="{650108E6-DFFA-4143-94C4-12B34C548FF6}"/>
              </a:ext>
            </a:extLst>
          </p:cNvPr>
          <p:cNvSpPr>
            <a:spLocks noGrp="1"/>
          </p:cNvSpPr>
          <p:nvPr>
            <p:ph type="pic" sz="quarter" idx="14" hasCustomPrompt="1"/>
          </p:nvPr>
        </p:nvSpPr>
        <p:spPr>
          <a:xfrm>
            <a:off x="6509936" y="1276350"/>
            <a:ext cx="2628000" cy="1692000"/>
          </a:xfrm>
          <a:prstGeom prst="rect">
            <a:avLst/>
          </a:prstGeom>
        </p:spPr>
        <p:txBody>
          <a:bodyPr tIns="252000"/>
          <a:lstStyle>
            <a:lvl1pPr algn="ctr">
              <a:defRPr/>
            </a:lvl1pPr>
          </a:lstStyle>
          <a:p>
            <a:r>
              <a:rPr lang="en-GB" dirty="0"/>
              <a:t>Click icon to add picture</a:t>
            </a:r>
          </a:p>
        </p:txBody>
      </p:sp>
      <p:sp>
        <p:nvSpPr>
          <p:cNvPr id="17" name="Bildplatzhalter 4">
            <a:extLst>
              <a:ext uri="{FF2B5EF4-FFF2-40B4-BE49-F238E27FC236}">
                <a16:creationId xmlns:a16="http://schemas.microsoft.com/office/drawing/2014/main" id="{F872D036-A6D2-4FA4-B7D2-B9F45A3160F8}"/>
              </a:ext>
            </a:extLst>
          </p:cNvPr>
          <p:cNvSpPr>
            <a:spLocks noGrp="1"/>
          </p:cNvSpPr>
          <p:nvPr>
            <p:ph type="pic" sz="quarter" idx="15" hasCustomPrompt="1"/>
          </p:nvPr>
        </p:nvSpPr>
        <p:spPr>
          <a:xfrm>
            <a:off x="4514770" y="1275581"/>
            <a:ext cx="1872000" cy="1116000"/>
          </a:xfrm>
          <a:prstGeom prst="rect">
            <a:avLst/>
          </a:prstGeom>
        </p:spPr>
        <p:txBody>
          <a:bodyPr tIns="36000"/>
          <a:lstStyle>
            <a:lvl1pPr algn="ctr">
              <a:defRPr/>
            </a:lvl1pPr>
          </a:lstStyle>
          <a:p>
            <a:r>
              <a:rPr lang="en-GB" dirty="0"/>
              <a:t>Click icon to add picture</a:t>
            </a:r>
          </a:p>
        </p:txBody>
      </p:sp>
      <p:sp>
        <p:nvSpPr>
          <p:cNvPr id="18" name="Bildplatzhalter 4">
            <a:extLst>
              <a:ext uri="{FF2B5EF4-FFF2-40B4-BE49-F238E27FC236}">
                <a16:creationId xmlns:a16="http://schemas.microsoft.com/office/drawing/2014/main" id="{47A5E027-4BD0-4108-87DE-EF0C9808591D}"/>
              </a:ext>
            </a:extLst>
          </p:cNvPr>
          <p:cNvSpPr>
            <a:spLocks noGrp="1"/>
          </p:cNvSpPr>
          <p:nvPr>
            <p:ph type="pic" sz="quarter" idx="16" hasCustomPrompt="1"/>
          </p:nvPr>
        </p:nvSpPr>
        <p:spPr>
          <a:xfrm>
            <a:off x="4514770" y="2515497"/>
            <a:ext cx="1872000" cy="2628000"/>
          </a:xfrm>
          <a:prstGeom prst="rect">
            <a:avLst/>
          </a:prstGeom>
        </p:spPr>
        <p:txBody>
          <a:bodyPr tIns="756000"/>
          <a:lstStyle>
            <a:lvl1pPr algn="ctr">
              <a:defRPr/>
            </a:lvl1pPr>
          </a:lstStyle>
          <a:p>
            <a:r>
              <a:rPr lang="en-GB" dirty="0"/>
              <a:t>Click icon to add picture</a:t>
            </a:r>
          </a:p>
        </p:txBody>
      </p:sp>
      <p:sp>
        <p:nvSpPr>
          <p:cNvPr id="19" name="Bildplatzhalter 4">
            <a:extLst>
              <a:ext uri="{FF2B5EF4-FFF2-40B4-BE49-F238E27FC236}">
                <a16:creationId xmlns:a16="http://schemas.microsoft.com/office/drawing/2014/main" id="{0D451ECA-BC23-481F-A8D2-5B957EEA5E11}"/>
              </a:ext>
            </a:extLst>
          </p:cNvPr>
          <p:cNvSpPr>
            <a:spLocks noGrp="1"/>
          </p:cNvSpPr>
          <p:nvPr>
            <p:ph type="pic" sz="quarter" idx="17" hasCustomPrompt="1"/>
          </p:nvPr>
        </p:nvSpPr>
        <p:spPr>
          <a:xfrm>
            <a:off x="-1" y="3077675"/>
            <a:ext cx="4392000" cy="2065822"/>
          </a:xfrm>
          <a:prstGeom prst="rect">
            <a:avLst/>
          </a:prstGeom>
        </p:spPr>
        <p:txBody>
          <a:bodyPr tIns="648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DD8A9B8C-8751-4C67-B5F9-EA1A2886F1F0}"/>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3C3C8B0-451F-4A2D-A541-8062D1C3423B}"/>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Inhaltsplatzhalter 2">
            <a:extLst>
              <a:ext uri="{FF2B5EF4-FFF2-40B4-BE49-F238E27FC236}">
                <a16:creationId xmlns:a16="http://schemas.microsoft.com/office/drawing/2014/main" id="{6D6406F3-F103-44BE-BE5E-595C9FD6DE39}"/>
              </a:ext>
            </a:extLst>
          </p:cNvPr>
          <p:cNvSpPr>
            <a:spLocks noGrp="1"/>
          </p:cNvSpPr>
          <p:nvPr>
            <p:ph idx="1" hasCustomPrompt="1"/>
          </p:nvPr>
        </p:nvSpPr>
        <p:spPr>
          <a:xfrm>
            <a:off x="0" y="1275580"/>
            <a:ext cx="2216834" cy="1691983"/>
          </a:xfrm>
          <a:prstGeom prst="rect">
            <a:avLst/>
          </a:prstGeom>
          <a:solidFill>
            <a:schemeClr val="accent3"/>
          </a:solidFill>
        </p:spPr>
        <p:txBody>
          <a:bodyPr lIns="432000" tIns="144000" rIns="144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2" name="Fußzeilenplatzhalter 1">
            <a:extLst>
              <a:ext uri="{FF2B5EF4-FFF2-40B4-BE49-F238E27FC236}">
                <a16:creationId xmlns:a16="http://schemas.microsoft.com/office/drawing/2014/main" id="{3B400C5B-C1BE-4A86-B8AA-9588D233AF9C}"/>
              </a:ext>
            </a:extLst>
          </p:cNvPr>
          <p:cNvSpPr>
            <a:spLocks noGrp="1"/>
          </p:cNvSpPr>
          <p:nvPr>
            <p:ph type="ftr" sz="quarter" idx="19"/>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918927166"/>
      </p:ext>
    </p:extLst>
  </p:cSld>
  <p:clrMapOvr>
    <a:masterClrMapping/>
  </p:clrMapOvr>
  <p:extLst>
    <p:ext uri="{DCECCB84-F9BA-43D5-87BE-67443E8EF086}">
      <p15:sldGuideLst xmlns:p15="http://schemas.microsoft.com/office/powerpoint/2012/main">
        <p15:guide id="1" orient="horz" pos="804"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and pictures 03">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3105138"/>
            <a:ext cx="396380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0" y="1418571"/>
            <a:ext cx="3966030" cy="1440000"/>
          </a:xfrm>
          <a:prstGeom prst="rect">
            <a:avLst/>
          </a:prstGeom>
        </p:spPr>
        <p:txBody>
          <a:bodyPr tIns="252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365035F6-48EA-43F6-9343-9B5E2EA40F89}"/>
              </a:ext>
            </a:extLst>
          </p:cNvPr>
          <p:cNvSpPr>
            <a:spLocks noGrp="1"/>
          </p:cNvSpPr>
          <p:nvPr>
            <p:ph type="ftr" sz="quarter" idx="21"/>
          </p:nvPr>
        </p:nvSpPr>
        <p:spPr/>
        <p:txBody>
          <a:bodyPr/>
          <a:lstStyle>
            <a:lvl1pPr>
              <a:defRPr>
                <a:solidFill>
                  <a:schemeClr val="tx2"/>
                </a:solidFill>
              </a:defRPr>
            </a:lvl1pPr>
          </a:lstStyle>
          <a:p>
            <a:r>
              <a:rPr lang="en-GB"/>
              <a:t>#AllAboutSports</a:t>
            </a:r>
            <a:endParaRPr lang="en-GB" dirty="0"/>
          </a:p>
        </p:txBody>
      </p:sp>
      <p:sp>
        <p:nvSpPr>
          <p:cNvPr id="19" name="Inhaltsplatzhalter 2">
            <a:extLst>
              <a:ext uri="{FF2B5EF4-FFF2-40B4-BE49-F238E27FC236}">
                <a16:creationId xmlns:a16="http://schemas.microsoft.com/office/drawing/2014/main" id="{6B91F3B9-92B5-42C6-8EB3-7F0CCC2A7F22}"/>
              </a:ext>
            </a:extLst>
          </p:cNvPr>
          <p:cNvSpPr>
            <a:spLocks noGrp="1"/>
          </p:cNvSpPr>
          <p:nvPr>
            <p:ph idx="22" hasCustomPrompt="1"/>
          </p:nvPr>
        </p:nvSpPr>
        <p:spPr>
          <a:xfrm>
            <a:off x="4711012" y="3105138"/>
            <a:ext cx="396380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1" name="Bildplatzhalter 4">
            <a:extLst>
              <a:ext uri="{FF2B5EF4-FFF2-40B4-BE49-F238E27FC236}">
                <a16:creationId xmlns:a16="http://schemas.microsoft.com/office/drawing/2014/main" id="{BA7C831D-B822-46F4-8C86-1B6BC3979E68}"/>
              </a:ext>
            </a:extLst>
          </p:cNvPr>
          <p:cNvSpPr>
            <a:spLocks noGrp="1"/>
          </p:cNvSpPr>
          <p:nvPr>
            <p:ph type="pic" sz="quarter" idx="23" hasCustomPrompt="1"/>
          </p:nvPr>
        </p:nvSpPr>
        <p:spPr>
          <a:xfrm>
            <a:off x="4709658" y="1418571"/>
            <a:ext cx="3966030" cy="1440000"/>
          </a:xfrm>
          <a:prstGeom prst="rect">
            <a:avLst/>
          </a:prstGeom>
        </p:spPr>
        <p:txBody>
          <a:bodyPr tIns="252000"/>
          <a:lstStyle>
            <a:lvl1pPr algn="ctr">
              <a:defRPr/>
            </a:lvl1pPr>
          </a:lstStyle>
          <a:p>
            <a:r>
              <a:rPr lang="en-GB" dirty="0"/>
              <a:t>Click icon to add picture</a:t>
            </a:r>
          </a:p>
        </p:txBody>
      </p:sp>
    </p:spTree>
    <p:extLst>
      <p:ext uri="{BB962C8B-B14F-4D97-AF65-F5344CB8AC3E}">
        <p14:creationId xmlns:p14="http://schemas.microsoft.com/office/powerpoint/2010/main" val="11024973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pictures 03">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3109254"/>
            <a:ext cx="2410646" cy="1623085"/>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0" y="1418571"/>
            <a:ext cx="2412000" cy="1440000"/>
          </a:xfrm>
          <a:prstGeom prst="rect">
            <a:avLst/>
          </a:prstGeom>
        </p:spPr>
        <p:txBody>
          <a:bodyPr tIns="252000"/>
          <a:lstStyle>
            <a:lvl1pPr algn="ctr">
              <a:defRPr/>
            </a:lvl1pPr>
          </a:lstStyle>
          <a:p>
            <a:r>
              <a:rPr lang="en-GB" dirty="0"/>
              <a:t>Click icon to add picture</a:t>
            </a:r>
          </a:p>
        </p:txBody>
      </p:sp>
      <p:sp>
        <p:nvSpPr>
          <p:cNvPr id="17" name="Bildplatzhalter 4">
            <a:extLst>
              <a:ext uri="{FF2B5EF4-FFF2-40B4-BE49-F238E27FC236}">
                <a16:creationId xmlns:a16="http://schemas.microsoft.com/office/drawing/2014/main" id="{F872D036-A6D2-4FA4-B7D2-B9F45A3160F8}"/>
              </a:ext>
            </a:extLst>
          </p:cNvPr>
          <p:cNvSpPr>
            <a:spLocks noGrp="1"/>
          </p:cNvSpPr>
          <p:nvPr>
            <p:ph type="pic" sz="quarter" idx="15" hasCustomPrompt="1"/>
          </p:nvPr>
        </p:nvSpPr>
        <p:spPr>
          <a:xfrm>
            <a:off x="3347744" y="1419225"/>
            <a:ext cx="2412000" cy="1440000"/>
          </a:xfrm>
          <a:prstGeom prst="rect">
            <a:avLst/>
          </a:prstGeom>
        </p:spPr>
        <p:txBody>
          <a:bodyPr tIns="252000"/>
          <a:lstStyle>
            <a:lvl1pPr algn="ctr">
              <a:defRPr/>
            </a:lvl1pPr>
          </a:lstStyle>
          <a:p>
            <a:r>
              <a:rPr lang="en-GB" dirty="0"/>
              <a:t>Click icon to add picture</a:t>
            </a:r>
          </a:p>
        </p:txBody>
      </p:sp>
      <p:sp>
        <p:nvSpPr>
          <p:cNvPr id="20" name="Bildplatzhalter 4">
            <a:extLst>
              <a:ext uri="{FF2B5EF4-FFF2-40B4-BE49-F238E27FC236}">
                <a16:creationId xmlns:a16="http://schemas.microsoft.com/office/drawing/2014/main" id="{D90921AE-8DFE-4DA1-88BB-ED3A205874F2}"/>
              </a:ext>
            </a:extLst>
          </p:cNvPr>
          <p:cNvSpPr>
            <a:spLocks noGrp="1"/>
          </p:cNvSpPr>
          <p:nvPr>
            <p:ph type="pic" sz="quarter" idx="18" hasCustomPrompt="1"/>
          </p:nvPr>
        </p:nvSpPr>
        <p:spPr>
          <a:xfrm>
            <a:off x="6263688" y="1419225"/>
            <a:ext cx="2412000" cy="1440000"/>
          </a:xfrm>
          <a:prstGeom prst="rect">
            <a:avLst/>
          </a:prstGeom>
        </p:spPr>
        <p:txBody>
          <a:bodyPr tIns="252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Inhaltsplatzhalter 2">
            <a:extLst>
              <a:ext uri="{FF2B5EF4-FFF2-40B4-BE49-F238E27FC236}">
                <a16:creationId xmlns:a16="http://schemas.microsoft.com/office/drawing/2014/main" id="{7AE39572-9160-4AF1-929C-2D3870AC3CE7}"/>
              </a:ext>
            </a:extLst>
          </p:cNvPr>
          <p:cNvSpPr>
            <a:spLocks noGrp="1"/>
          </p:cNvSpPr>
          <p:nvPr>
            <p:ph idx="19" hasCustomPrompt="1"/>
          </p:nvPr>
        </p:nvSpPr>
        <p:spPr>
          <a:xfrm>
            <a:off x="3343460" y="3106446"/>
            <a:ext cx="2410646" cy="1623085"/>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7" name="Inhaltsplatzhalter 2">
            <a:extLst>
              <a:ext uri="{FF2B5EF4-FFF2-40B4-BE49-F238E27FC236}">
                <a16:creationId xmlns:a16="http://schemas.microsoft.com/office/drawing/2014/main" id="{0C6C2FF5-9C62-401E-86C3-4FFC5DA47CD0}"/>
              </a:ext>
            </a:extLst>
          </p:cNvPr>
          <p:cNvSpPr>
            <a:spLocks noGrp="1"/>
          </p:cNvSpPr>
          <p:nvPr>
            <p:ph idx="20" hasCustomPrompt="1"/>
          </p:nvPr>
        </p:nvSpPr>
        <p:spPr>
          <a:xfrm>
            <a:off x="6263688" y="3102011"/>
            <a:ext cx="2410646" cy="1623085"/>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Fußzeilenplatzhalter 1">
            <a:extLst>
              <a:ext uri="{FF2B5EF4-FFF2-40B4-BE49-F238E27FC236}">
                <a16:creationId xmlns:a16="http://schemas.microsoft.com/office/drawing/2014/main" id="{365035F6-48EA-43F6-9343-9B5E2EA40F89}"/>
              </a:ext>
            </a:extLst>
          </p:cNvPr>
          <p:cNvSpPr>
            <a:spLocks noGrp="1"/>
          </p:cNvSpPr>
          <p:nvPr>
            <p:ph type="ftr" sz="quarter" idx="21"/>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1058604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ntent and pictures 03">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5"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1" y="1418571"/>
            <a:ext cx="1973047" cy="1440000"/>
          </a:xfrm>
          <a:prstGeom prst="rect">
            <a:avLst/>
          </a:prstGeom>
        </p:spPr>
        <p:txBody>
          <a:bodyPr tIns="252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365035F6-48EA-43F6-9343-9B5E2EA40F89}"/>
              </a:ext>
            </a:extLst>
          </p:cNvPr>
          <p:cNvSpPr>
            <a:spLocks noGrp="1"/>
          </p:cNvSpPr>
          <p:nvPr>
            <p:ph type="ftr" sz="quarter" idx="21"/>
          </p:nvPr>
        </p:nvSpPr>
        <p:spPr/>
        <p:txBody>
          <a:bodyPr/>
          <a:lstStyle>
            <a:lvl1pPr>
              <a:defRPr>
                <a:solidFill>
                  <a:schemeClr val="tx2"/>
                </a:solidFill>
              </a:defRPr>
            </a:lvl1pPr>
          </a:lstStyle>
          <a:p>
            <a:r>
              <a:rPr lang="en-GB"/>
              <a:t>#AllAboutSports</a:t>
            </a:r>
            <a:endParaRPr lang="en-GB" dirty="0"/>
          </a:p>
        </p:txBody>
      </p:sp>
      <p:sp>
        <p:nvSpPr>
          <p:cNvPr id="21" name="Bildplatzhalter 4">
            <a:extLst>
              <a:ext uri="{FF2B5EF4-FFF2-40B4-BE49-F238E27FC236}">
                <a16:creationId xmlns:a16="http://schemas.microsoft.com/office/drawing/2014/main" id="{BA7C831D-B822-46F4-8C86-1B6BC3979E68}"/>
              </a:ext>
            </a:extLst>
          </p:cNvPr>
          <p:cNvSpPr>
            <a:spLocks noGrp="1"/>
          </p:cNvSpPr>
          <p:nvPr>
            <p:ph type="pic" sz="quarter" idx="23" hasCustomPrompt="1"/>
          </p:nvPr>
        </p:nvSpPr>
        <p:spPr>
          <a:xfrm>
            <a:off x="2527887" y="1418571"/>
            <a:ext cx="1973047" cy="1440000"/>
          </a:xfrm>
          <a:prstGeom prst="rect">
            <a:avLst/>
          </a:prstGeom>
        </p:spPr>
        <p:txBody>
          <a:bodyPr tIns="252000"/>
          <a:lstStyle>
            <a:lvl1pPr algn="ctr">
              <a:defRPr/>
            </a:lvl1pPr>
          </a:lstStyle>
          <a:p>
            <a:r>
              <a:rPr lang="en-GB" dirty="0"/>
              <a:t>Click icon to add picture</a:t>
            </a:r>
          </a:p>
        </p:txBody>
      </p:sp>
      <p:sp>
        <p:nvSpPr>
          <p:cNvPr id="16" name="Bildplatzhalter 4">
            <a:extLst>
              <a:ext uri="{FF2B5EF4-FFF2-40B4-BE49-F238E27FC236}">
                <a16:creationId xmlns:a16="http://schemas.microsoft.com/office/drawing/2014/main" id="{88F60992-8A0D-4FFA-A9B4-658502E52A0E}"/>
              </a:ext>
            </a:extLst>
          </p:cNvPr>
          <p:cNvSpPr>
            <a:spLocks noGrp="1"/>
          </p:cNvSpPr>
          <p:nvPr>
            <p:ph type="pic" sz="quarter" idx="25" hasCustomPrompt="1"/>
          </p:nvPr>
        </p:nvSpPr>
        <p:spPr>
          <a:xfrm>
            <a:off x="4623973" y="1418571"/>
            <a:ext cx="1973047" cy="1440000"/>
          </a:xfrm>
          <a:prstGeom prst="rect">
            <a:avLst/>
          </a:prstGeom>
        </p:spPr>
        <p:txBody>
          <a:bodyPr tIns="252000"/>
          <a:lstStyle>
            <a:lvl1pPr algn="ctr">
              <a:defRPr/>
            </a:lvl1pPr>
          </a:lstStyle>
          <a:p>
            <a:r>
              <a:rPr lang="en-GB" dirty="0"/>
              <a:t>Click icon to add picture</a:t>
            </a:r>
          </a:p>
        </p:txBody>
      </p:sp>
      <p:sp>
        <p:nvSpPr>
          <p:cNvPr id="18" name="Bildplatzhalter 4">
            <a:extLst>
              <a:ext uri="{FF2B5EF4-FFF2-40B4-BE49-F238E27FC236}">
                <a16:creationId xmlns:a16="http://schemas.microsoft.com/office/drawing/2014/main" id="{BF5856A9-D902-4205-B690-C2BA9AFB4A79}"/>
              </a:ext>
            </a:extLst>
          </p:cNvPr>
          <p:cNvSpPr>
            <a:spLocks noGrp="1"/>
          </p:cNvSpPr>
          <p:nvPr>
            <p:ph type="pic" sz="quarter" idx="27" hasCustomPrompt="1"/>
          </p:nvPr>
        </p:nvSpPr>
        <p:spPr>
          <a:xfrm>
            <a:off x="6720058" y="1418571"/>
            <a:ext cx="1973047" cy="1440000"/>
          </a:xfrm>
          <a:prstGeom prst="rect">
            <a:avLst/>
          </a:prstGeom>
        </p:spPr>
        <p:txBody>
          <a:bodyPr tIns="252000"/>
          <a:lstStyle>
            <a:lvl1pPr algn="ctr">
              <a:defRPr/>
            </a:lvl1pPr>
          </a:lstStyle>
          <a:p>
            <a:r>
              <a:rPr lang="en-GB" dirty="0"/>
              <a:t>Click icon to add picture</a:t>
            </a:r>
          </a:p>
        </p:txBody>
      </p:sp>
      <p:sp>
        <p:nvSpPr>
          <p:cNvPr id="20" name="Inhaltsplatzhalter 2">
            <a:extLst>
              <a:ext uri="{FF2B5EF4-FFF2-40B4-BE49-F238E27FC236}">
                <a16:creationId xmlns:a16="http://schemas.microsoft.com/office/drawing/2014/main" id="{C6F0E08E-F86B-407B-A2A4-EADC3EC3B26D}"/>
              </a:ext>
            </a:extLst>
          </p:cNvPr>
          <p:cNvSpPr>
            <a:spLocks noGrp="1"/>
          </p:cNvSpPr>
          <p:nvPr>
            <p:ph idx="28" hasCustomPrompt="1"/>
          </p:nvPr>
        </p:nvSpPr>
        <p:spPr>
          <a:xfrm>
            <a:off x="2529240"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3" name="Inhaltsplatzhalter 2">
            <a:extLst>
              <a:ext uri="{FF2B5EF4-FFF2-40B4-BE49-F238E27FC236}">
                <a16:creationId xmlns:a16="http://schemas.microsoft.com/office/drawing/2014/main" id="{AAED7F6C-B34F-4984-8AF7-F857C2267EA1}"/>
              </a:ext>
            </a:extLst>
          </p:cNvPr>
          <p:cNvSpPr>
            <a:spLocks noGrp="1"/>
          </p:cNvSpPr>
          <p:nvPr>
            <p:ph idx="29" hasCustomPrompt="1"/>
          </p:nvPr>
        </p:nvSpPr>
        <p:spPr>
          <a:xfrm>
            <a:off x="4623973"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4" name="Inhaltsplatzhalter 2">
            <a:extLst>
              <a:ext uri="{FF2B5EF4-FFF2-40B4-BE49-F238E27FC236}">
                <a16:creationId xmlns:a16="http://schemas.microsoft.com/office/drawing/2014/main" id="{C3AE5FBF-F9DF-4648-9DF5-6FE0A88109AF}"/>
              </a:ext>
            </a:extLst>
          </p:cNvPr>
          <p:cNvSpPr>
            <a:spLocks noGrp="1"/>
          </p:cNvSpPr>
          <p:nvPr>
            <p:ph idx="30" hasCustomPrompt="1"/>
          </p:nvPr>
        </p:nvSpPr>
        <p:spPr>
          <a:xfrm>
            <a:off x="6720058"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Tree>
    <p:extLst>
      <p:ext uri="{BB962C8B-B14F-4D97-AF65-F5344CB8AC3E}">
        <p14:creationId xmlns:p14="http://schemas.microsoft.com/office/powerpoint/2010/main" val="30805950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2088837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7" name="Bildplatzhalter 4">
            <a:extLst>
              <a:ext uri="{FF2B5EF4-FFF2-40B4-BE49-F238E27FC236}">
                <a16:creationId xmlns:a16="http://schemas.microsoft.com/office/drawing/2014/main" id="{643CA984-4C24-479B-BE20-079A1EBCE514}"/>
              </a:ext>
            </a:extLst>
          </p:cNvPr>
          <p:cNvSpPr>
            <a:spLocks noGrp="1"/>
          </p:cNvSpPr>
          <p:nvPr>
            <p:ph type="pic" sz="quarter" idx="13" hasCustomPrompt="1"/>
          </p:nvPr>
        </p:nvSpPr>
        <p:spPr>
          <a:xfrm>
            <a:off x="431800" y="1255886"/>
            <a:ext cx="3966030" cy="1440000"/>
          </a:xfrm>
          <a:prstGeom prst="rect">
            <a:avLst/>
          </a:prstGeom>
        </p:spPr>
        <p:txBody>
          <a:bodyPr tIns="252000"/>
          <a:lstStyle>
            <a:lvl1pPr algn="ctr">
              <a:defRPr/>
            </a:lvl1pPr>
          </a:lstStyle>
          <a:p>
            <a:r>
              <a:rPr lang="en-GB" dirty="0"/>
              <a:t>Click icon to add picture</a:t>
            </a:r>
          </a:p>
        </p:txBody>
      </p:sp>
      <p:sp>
        <p:nvSpPr>
          <p:cNvPr id="43" name="Bildplatzhalter 4">
            <a:extLst>
              <a:ext uri="{FF2B5EF4-FFF2-40B4-BE49-F238E27FC236}">
                <a16:creationId xmlns:a16="http://schemas.microsoft.com/office/drawing/2014/main" id="{48E20C01-5162-483D-B5F8-34F409E37FF7}"/>
              </a:ext>
            </a:extLst>
          </p:cNvPr>
          <p:cNvSpPr>
            <a:spLocks noGrp="1"/>
          </p:cNvSpPr>
          <p:nvPr>
            <p:ph type="pic" sz="quarter" idx="23" hasCustomPrompt="1"/>
          </p:nvPr>
        </p:nvSpPr>
        <p:spPr>
          <a:xfrm>
            <a:off x="4709658" y="1255886"/>
            <a:ext cx="3966030" cy="1440000"/>
          </a:xfrm>
          <a:prstGeom prst="rect">
            <a:avLst/>
          </a:prstGeom>
        </p:spPr>
        <p:txBody>
          <a:bodyPr tIns="252000"/>
          <a:lstStyle>
            <a:lvl1pPr algn="ctr">
              <a:defRPr/>
            </a:lvl1pPr>
          </a:lstStyle>
          <a:p>
            <a:r>
              <a:rPr lang="en-GB" dirty="0"/>
              <a:t>Click icon to add picture</a:t>
            </a:r>
          </a:p>
        </p:txBody>
      </p:sp>
      <p:sp>
        <p:nvSpPr>
          <p:cNvPr id="45" name="Bildplatzhalter 4">
            <a:extLst>
              <a:ext uri="{FF2B5EF4-FFF2-40B4-BE49-F238E27FC236}">
                <a16:creationId xmlns:a16="http://schemas.microsoft.com/office/drawing/2014/main" id="{2282F5D1-A303-42BD-B9F8-E0872041AC20}"/>
              </a:ext>
            </a:extLst>
          </p:cNvPr>
          <p:cNvSpPr>
            <a:spLocks noGrp="1"/>
          </p:cNvSpPr>
          <p:nvPr>
            <p:ph type="pic" sz="quarter" idx="43" hasCustomPrompt="1"/>
          </p:nvPr>
        </p:nvSpPr>
        <p:spPr>
          <a:xfrm>
            <a:off x="431800" y="3040414"/>
            <a:ext cx="3966030" cy="1440000"/>
          </a:xfrm>
          <a:prstGeom prst="rect">
            <a:avLst/>
          </a:prstGeom>
        </p:spPr>
        <p:txBody>
          <a:bodyPr tIns="252000"/>
          <a:lstStyle>
            <a:lvl1pPr algn="ctr">
              <a:defRPr/>
            </a:lvl1pPr>
          </a:lstStyle>
          <a:p>
            <a:r>
              <a:rPr lang="en-GB" dirty="0"/>
              <a:t>Click icon to add picture</a:t>
            </a:r>
          </a:p>
        </p:txBody>
      </p:sp>
      <p:sp>
        <p:nvSpPr>
          <p:cNvPr id="46" name="Bildplatzhalter 4">
            <a:extLst>
              <a:ext uri="{FF2B5EF4-FFF2-40B4-BE49-F238E27FC236}">
                <a16:creationId xmlns:a16="http://schemas.microsoft.com/office/drawing/2014/main" id="{9B46A754-F5CE-4D26-9573-5EB843837374}"/>
              </a:ext>
            </a:extLst>
          </p:cNvPr>
          <p:cNvSpPr>
            <a:spLocks noGrp="1"/>
          </p:cNvSpPr>
          <p:nvPr>
            <p:ph type="pic" sz="quarter" idx="44" hasCustomPrompt="1"/>
          </p:nvPr>
        </p:nvSpPr>
        <p:spPr>
          <a:xfrm>
            <a:off x="4709658" y="3040414"/>
            <a:ext cx="3966030" cy="1440000"/>
          </a:xfrm>
          <a:prstGeom prst="rect">
            <a:avLst/>
          </a:prstGeom>
        </p:spPr>
        <p:txBody>
          <a:bodyPr tIns="252000"/>
          <a:lstStyle>
            <a:lvl1pPr algn="ctr">
              <a:defRPr/>
            </a:lvl1pPr>
          </a:lstStyle>
          <a:p>
            <a:r>
              <a:rPr lang="en-GB" dirty="0"/>
              <a:t>Click icon to add pictur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platzhalter 2">
            <a:extLst>
              <a:ext uri="{FF2B5EF4-FFF2-40B4-BE49-F238E27FC236}">
                <a16:creationId xmlns:a16="http://schemas.microsoft.com/office/drawing/2014/main" id="{C233D614-B652-4154-B293-A17642724DDA}"/>
              </a:ext>
            </a:extLst>
          </p:cNvPr>
          <p:cNvSpPr>
            <a:spLocks noGrp="1"/>
          </p:cNvSpPr>
          <p:nvPr>
            <p:ph type="body" sz="quarter" idx="25" hasCustomPrompt="1"/>
          </p:nvPr>
        </p:nvSpPr>
        <p:spPr>
          <a:xfrm>
            <a:off x="278644" y="2453466"/>
            <a:ext cx="1872000" cy="360000"/>
          </a:xfrm>
          <a:prstGeom prst="parallelogram">
            <a:avLst/>
          </a:prstGeom>
          <a:solidFill>
            <a:schemeClr val="accent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 name="Textplatzhalter 2">
            <a:extLst>
              <a:ext uri="{FF2B5EF4-FFF2-40B4-BE49-F238E27FC236}">
                <a16:creationId xmlns:a16="http://schemas.microsoft.com/office/drawing/2014/main" id="{67C705DD-1A7B-400D-9004-9981BC517060}"/>
              </a:ext>
            </a:extLst>
          </p:cNvPr>
          <p:cNvSpPr>
            <a:spLocks noGrp="1"/>
          </p:cNvSpPr>
          <p:nvPr>
            <p:ph type="body" sz="quarter" idx="31" hasCustomPrompt="1"/>
          </p:nvPr>
        </p:nvSpPr>
        <p:spPr>
          <a:xfrm>
            <a:off x="431801" y="2453033"/>
            <a:ext cx="288000" cy="358557"/>
          </a:xfrm>
        </p:spPr>
        <p:txBody>
          <a:bodyPr anchor="ctr" anchorCtr="0"/>
          <a:lstStyle>
            <a:lvl1pPr>
              <a:defRPr sz="2000">
                <a:solidFill>
                  <a:schemeClr val="bg1"/>
                </a:solidFill>
              </a:defRPr>
            </a:lvl1pPr>
          </a:lstStyle>
          <a:p>
            <a:pPr lvl="0"/>
            <a:r>
              <a:rPr lang="de-DE" dirty="0"/>
              <a:t>1</a:t>
            </a:r>
            <a:endParaRPr lang="en-GB" dirty="0"/>
          </a:p>
        </p:txBody>
      </p:sp>
      <p:sp>
        <p:nvSpPr>
          <p:cNvPr id="29" name="Textplatzhalter 2">
            <a:extLst>
              <a:ext uri="{FF2B5EF4-FFF2-40B4-BE49-F238E27FC236}">
                <a16:creationId xmlns:a16="http://schemas.microsoft.com/office/drawing/2014/main" id="{689136D4-EE0E-4B44-A8F1-9434E3CB5B2E}"/>
              </a:ext>
            </a:extLst>
          </p:cNvPr>
          <p:cNvSpPr>
            <a:spLocks noGrp="1"/>
          </p:cNvSpPr>
          <p:nvPr>
            <p:ph type="body" sz="quarter" idx="32" hasCustomPrompt="1"/>
          </p:nvPr>
        </p:nvSpPr>
        <p:spPr>
          <a:xfrm>
            <a:off x="4572000" y="2451590"/>
            <a:ext cx="1872000" cy="360000"/>
          </a:xfrm>
          <a:prstGeom prst="parallelogram">
            <a:avLst/>
          </a:prstGeom>
          <a:solidFill>
            <a:srgbClr val="68658A"/>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0" name="Textplatzhalter 2">
            <a:extLst>
              <a:ext uri="{FF2B5EF4-FFF2-40B4-BE49-F238E27FC236}">
                <a16:creationId xmlns:a16="http://schemas.microsoft.com/office/drawing/2014/main" id="{91F04682-E729-4EF2-979E-2D52D82C9CD1}"/>
              </a:ext>
            </a:extLst>
          </p:cNvPr>
          <p:cNvSpPr>
            <a:spLocks noGrp="1"/>
          </p:cNvSpPr>
          <p:nvPr>
            <p:ph type="body" sz="quarter" idx="33" hasCustomPrompt="1"/>
          </p:nvPr>
        </p:nvSpPr>
        <p:spPr>
          <a:xfrm>
            <a:off x="4725157" y="2451157"/>
            <a:ext cx="288000" cy="358557"/>
          </a:xfrm>
        </p:spPr>
        <p:txBody>
          <a:bodyPr anchor="ctr" anchorCtr="0"/>
          <a:lstStyle>
            <a:lvl1pPr>
              <a:defRPr sz="2000">
                <a:solidFill>
                  <a:schemeClr val="bg1"/>
                </a:solidFill>
              </a:defRPr>
            </a:lvl1pPr>
          </a:lstStyle>
          <a:p>
            <a:pPr lvl="0"/>
            <a:r>
              <a:rPr lang="de-DE" dirty="0"/>
              <a:t>2</a:t>
            </a:r>
            <a:endParaRPr lang="en-GB" dirty="0"/>
          </a:p>
        </p:txBody>
      </p:sp>
      <p:sp>
        <p:nvSpPr>
          <p:cNvPr id="34" name="Textplatzhalter 2">
            <a:extLst>
              <a:ext uri="{FF2B5EF4-FFF2-40B4-BE49-F238E27FC236}">
                <a16:creationId xmlns:a16="http://schemas.microsoft.com/office/drawing/2014/main" id="{C6898EEB-DDF3-44C0-A71E-ABE38921A00D}"/>
              </a:ext>
            </a:extLst>
          </p:cNvPr>
          <p:cNvSpPr>
            <a:spLocks noGrp="1"/>
          </p:cNvSpPr>
          <p:nvPr>
            <p:ph type="body" sz="quarter" idx="36" hasCustomPrompt="1"/>
          </p:nvPr>
        </p:nvSpPr>
        <p:spPr>
          <a:xfrm>
            <a:off x="275318" y="4176915"/>
            <a:ext cx="1872000" cy="360000"/>
          </a:xfrm>
          <a:prstGeom prst="parallelogram">
            <a:avLst/>
          </a:prstGeom>
          <a:solidFill>
            <a:schemeClr val="tx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6" name="Textplatzhalter 2">
            <a:extLst>
              <a:ext uri="{FF2B5EF4-FFF2-40B4-BE49-F238E27FC236}">
                <a16:creationId xmlns:a16="http://schemas.microsoft.com/office/drawing/2014/main" id="{CE84F752-38E9-4B44-9CFE-D522A717200A}"/>
              </a:ext>
            </a:extLst>
          </p:cNvPr>
          <p:cNvSpPr>
            <a:spLocks noGrp="1"/>
          </p:cNvSpPr>
          <p:nvPr>
            <p:ph type="body" sz="quarter" idx="37" hasCustomPrompt="1"/>
          </p:nvPr>
        </p:nvSpPr>
        <p:spPr>
          <a:xfrm>
            <a:off x="428475" y="4176482"/>
            <a:ext cx="288000" cy="358557"/>
          </a:xfrm>
        </p:spPr>
        <p:txBody>
          <a:bodyPr anchor="ctr" anchorCtr="0"/>
          <a:lstStyle>
            <a:lvl1pPr>
              <a:defRPr sz="2000">
                <a:solidFill>
                  <a:schemeClr val="bg1"/>
                </a:solidFill>
              </a:defRPr>
            </a:lvl1pPr>
          </a:lstStyle>
          <a:p>
            <a:pPr lvl="0"/>
            <a:r>
              <a:rPr lang="de-DE" dirty="0"/>
              <a:t>3</a:t>
            </a:r>
            <a:endParaRPr lang="en-GB" dirty="0"/>
          </a:p>
        </p:txBody>
      </p:sp>
      <p:sp>
        <p:nvSpPr>
          <p:cNvPr id="37" name="Textplatzhalter 2">
            <a:extLst>
              <a:ext uri="{FF2B5EF4-FFF2-40B4-BE49-F238E27FC236}">
                <a16:creationId xmlns:a16="http://schemas.microsoft.com/office/drawing/2014/main" id="{74A7CF4E-951E-4108-9E4E-0BF02AC2A973}"/>
              </a:ext>
            </a:extLst>
          </p:cNvPr>
          <p:cNvSpPr>
            <a:spLocks noGrp="1"/>
          </p:cNvSpPr>
          <p:nvPr>
            <p:ph type="body" sz="quarter" idx="38" hasCustomPrompt="1"/>
          </p:nvPr>
        </p:nvSpPr>
        <p:spPr>
          <a:xfrm>
            <a:off x="4558402" y="4184370"/>
            <a:ext cx="1872000" cy="360000"/>
          </a:xfrm>
          <a:prstGeom prst="parallelogram">
            <a:avLst/>
          </a:prstGeom>
          <a:solidFill>
            <a:schemeClr val="accent3"/>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9" name="Textplatzhalter 2">
            <a:extLst>
              <a:ext uri="{FF2B5EF4-FFF2-40B4-BE49-F238E27FC236}">
                <a16:creationId xmlns:a16="http://schemas.microsoft.com/office/drawing/2014/main" id="{751FB853-CA6B-40A2-A5FD-7CD327129B97}"/>
              </a:ext>
            </a:extLst>
          </p:cNvPr>
          <p:cNvSpPr>
            <a:spLocks noGrp="1"/>
          </p:cNvSpPr>
          <p:nvPr>
            <p:ph type="body" sz="quarter" idx="39" hasCustomPrompt="1"/>
          </p:nvPr>
        </p:nvSpPr>
        <p:spPr>
          <a:xfrm>
            <a:off x="4711559" y="4183937"/>
            <a:ext cx="288000" cy="358557"/>
          </a:xfrm>
        </p:spPr>
        <p:txBody>
          <a:bodyPr anchor="ctr" anchorCtr="0"/>
          <a:lstStyle>
            <a:lvl1pPr>
              <a:defRPr sz="2000">
                <a:solidFill>
                  <a:schemeClr val="bg1"/>
                </a:solidFill>
              </a:defRPr>
            </a:lvl1pPr>
          </a:lstStyle>
          <a:p>
            <a:pPr lvl="0"/>
            <a:r>
              <a:rPr lang="de-DE" dirty="0"/>
              <a:t>4</a:t>
            </a:r>
            <a:endParaRPr lang="en-GB" dirty="0"/>
          </a:p>
        </p:txBody>
      </p: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4186175749"/>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gold picture">
    <p:bg>
      <p:bgPr>
        <a:solidFill>
          <a:schemeClr val="accent5"/>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800" y="4423578"/>
            <a:ext cx="1621656" cy="211223"/>
          </a:xfrm>
          <a:prstGeom prst="rect">
            <a:avLst/>
          </a:prstGeom>
        </p:spPr>
      </p:pic>
      <p:pic>
        <p:nvPicPr>
          <p:cNvPr id="14" name="Graphic 9">
            <a:extLst>
              <a:ext uri="{FF2B5EF4-FFF2-40B4-BE49-F238E27FC236}">
                <a16:creationId xmlns:a16="http://schemas.microsoft.com/office/drawing/2014/main" id="{211D252E-A012-487A-8355-D6C45AB066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08382" y="0"/>
            <a:ext cx="1311768" cy="660815"/>
          </a:xfrm>
          <a:prstGeom prst="rect">
            <a:avLst/>
          </a:prstGeom>
        </p:spPr>
      </p:pic>
      <p:sp>
        <p:nvSpPr>
          <p:cNvPr id="9" name="Bildplatzhalter 8">
            <a:extLst>
              <a:ext uri="{FF2B5EF4-FFF2-40B4-BE49-F238E27FC236}">
                <a16:creationId xmlns:a16="http://schemas.microsoft.com/office/drawing/2014/main" id="{22F8D8C7-A94C-4020-8104-20611615A807}"/>
              </a:ext>
            </a:extLst>
          </p:cNvPr>
          <p:cNvSpPr>
            <a:spLocks noGrp="1"/>
          </p:cNvSpPr>
          <p:nvPr>
            <p:ph type="pic" sz="quarter" idx="10" hasCustomPrompt="1"/>
          </p:nvPr>
        </p:nvSpPr>
        <p:spPr>
          <a:xfrm>
            <a:off x="3031958" y="-1840"/>
            <a:ext cx="6112041" cy="5146745"/>
          </a:xfrm>
          <a:custGeom>
            <a:avLst/>
            <a:gdLst>
              <a:gd name="connsiteX0" fmla="*/ 4476424 w 6112041"/>
              <a:gd name="connsiteY0" fmla="*/ 255 h 5146745"/>
              <a:gd name="connsiteX1" fmla="*/ 4476424 w 6112041"/>
              <a:gd name="connsiteY1" fmla="*/ 662655 h 5146745"/>
              <a:gd name="connsiteX2" fmla="*/ 5786824 w 6112041"/>
              <a:gd name="connsiteY2" fmla="*/ 662655 h 5146745"/>
              <a:gd name="connsiteX3" fmla="*/ 5786824 w 6112041"/>
              <a:gd name="connsiteY3" fmla="*/ 255 h 5146745"/>
              <a:gd name="connsiteX4" fmla="*/ 1775581 w 6112041"/>
              <a:gd name="connsiteY4" fmla="*/ 0 h 5146745"/>
              <a:gd name="connsiteX5" fmla="*/ 6111905 w 6112041"/>
              <a:gd name="connsiteY5" fmla="*/ 0 h 5146745"/>
              <a:gd name="connsiteX6" fmla="*/ 6112041 w 6112041"/>
              <a:gd name="connsiteY6" fmla="*/ 859341 h 5146745"/>
              <a:gd name="connsiteX7" fmla="*/ 6112041 w 6112041"/>
              <a:gd name="connsiteY7" fmla="*/ 5146745 h 5146745"/>
              <a:gd name="connsiteX8" fmla="*/ 0 w 6112041"/>
              <a:gd name="connsiteY8" fmla="*/ 5146745 h 5146745"/>
              <a:gd name="connsiteX9" fmla="*/ 1328364 w 6112041"/>
              <a:gd name="connsiteY9" fmla="*/ 1300902 h 5146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2041" h="5146745">
                <a:moveTo>
                  <a:pt x="4476424" y="255"/>
                </a:moveTo>
                <a:lnTo>
                  <a:pt x="4476424" y="662655"/>
                </a:lnTo>
                <a:lnTo>
                  <a:pt x="5786824" y="662655"/>
                </a:lnTo>
                <a:lnTo>
                  <a:pt x="5786824" y="255"/>
                </a:lnTo>
                <a:close/>
                <a:moveTo>
                  <a:pt x="1775581" y="0"/>
                </a:moveTo>
                <a:lnTo>
                  <a:pt x="6111905" y="0"/>
                </a:lnTo>
                <a:cubicBezTo>
                  <a:pt x="6111950" y="286447"/>
                  <a:pt x="6111996" y="572894"/>
                  <a:pt x="6112041" y="859341"/>
                </a:cubicBezTo>
                <a:lnTo>
                  <a:pt x="6112041" y="5146745"/>
                </a:lnTo>
                <a:lnTo>
                  <a:pt x="0" y="5146745"/>
                </a:lnTo>
                <a:lnTo>
                  <a:pt x="1328364" y="1300902"/>
                </a:lnTo>
                <a:close/>
              </a:path>
            </a:pathLst>
          </a:custGeom>
          <a:solidFill>
            <a:schemeClr val="bg1"/>
          </a:solidFill>
          <a:ln>
            <a:noFill/>
          </a:ln>
        </p:spPr>
        <p:txBody>
          <a:bodyPr wrap="square" tIns="1980000" anchor="t" anchorCtr="0">
            <a:noAutofit/>
          </a:bodyPr>
          <a:lstStyle>
            <a:lvl1pPr algn="ctr">
              <a:defRPr/>
            </a:lvl1pPr>
          </a:lstStyle>
          <a:p>
            <a:r>
              <a:rPr lang="en-US" noProof="0" dirty="0"/>
              <a:t>Click icon to add picture</a:t>
            </a:r>
          </a:p>
        </p:txBody>
      </p:sp>
    </p:spTree>
    <p:extLst>
      <p:ext uri="{BB962C8B-B14F-4D97-AF65-F5344CB8AC3E}">
        <p14:creationId xmlns:p14="http://schemas.microsoft.com/office/powerpoint/2010/main" val="28680196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ntent and pictures 04">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8" name="Bildplatzhalter 4">
            <a:extLst>
              <a:ext uri="{FF2B5EF4-FFF2-40B4-BE49-F238E27FC236}">
                <a16:creationId xmlns:a16="http://schemas.microsoft.com/office/drawing/2014/main" id="{4CF5C1B3-78FA-48B2-A890-72DE53D12C1D}"/>
              </a:ext>
            </a:extLst>
          </p:cNvPr>
          <p:cNvSpPr>
            <a:spLocks noGrp="1"/>
          </p:cNvSpPr>
          <p:nvPr>
            <p:ph type="pic" sz="quarter" idx="16" hasCustomPrompt="1"/>
          </p:nvPr>
        </p:nvSpPr>
        <p:spPr>
          <a:xfrm>
            <a:off x="6263688" y="3003951"/>
            <a:ext cx="2412000" cy="1440000"/>
          </a:xfrm>
          <a:prstGeom prst="rect">
            <a:avLst/>
          </a:prstGeom>
        </p:spPr>
        <p:txBody>
          <a:bodyPr tIns="252000"/>
          <a:lstStyle>
            <a:lvl1pPr algn="ctr">
              <a:defRPr/>
            </a:lvl1pPr>
          </a:lstStyle>
          <a:p>
            <a:r>
              <a:rPr lang="en-GB" dirty="0"/>
              <a:t>Click icon to add picture</a:t>
            </a:r>
          </a:p>
        </p:txBody>
      </p:sp>
      <p:sp>
        <p:nvSpPr>
          <p:cNvPr id="32" name="Bildplatzhalter 4">
            <a:extLst>
              <a:ext uri="{FF2B5EF4-FFF2-40B4-BE49-F238E27FC236}">
                <a16:creationId xmlns:a16="http://schemas.microsoft.com/office/drawing/2014/main" id="{7F903F2D-0AB1-4FAC-8BE4-6670660B6EEA}"/>
              </a:ext>
            </a:extLst>
          </p:cNvPr>
          <p:cNvSpPr>
            <a:spLocks noGrp="1"/>
          </p:cNvSpPr>
          <p:nvPr>
            <p:ph type="pic" sz="quarter" idx="14" hasCustomPrompt="1"/>
          </p:nvPr>
        </p:nvSpPr>
        <p:spPr>
          <a:xfrm>
            <a:off x="6263688" y="1276350"/>
            <a:ext cx="2412000" cy="1440000"/>
          </a:xfrm>
          <a:prstGeom prst="rect">
            <a:avLst/>
          </a:prstGeom>
        </p:spPr>
        <p:txBody>
          <a:bodyPr tIns="252000"/>
          <a:lstStyle>
            <a:lvl1pPr algn="ctr">
              <a:defRPr/>
            </a:lvl1pPr>
          </a:lstStyle>
          <a:p>
            <a:r>
              <a:rPr lang="en-GB" dirty="0"/>
              <a:t>Click icon to add picture</a:t>
            </a: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0" y="1276350"/>
            <a:ext cx="2412000" cy="1440000"/>
          </a:xfrm>
          <a:prstGeom prst="rect">
            <a:avLst/>
          </a:prstGeom>
        </p:spPr>
        <p:txBody>
          <a:bodyPr tIns="252000"/>
          <a:lstStyle>
            <a:lvl1pPr algn="ctr">
              <a:defRPr/>
            </a:lvl1pPr>
          </a:lstStyle>
          <a:p>
            <a:r>
              <a:rPr lang="en-GB" dirty="0"/>
              <a:t>Click icon to add picture</a:t>
            </a:r>
          </a:p>
        </p:txBody>
      </p:sp>
      <p:sp>
        <p:nvSpPr>
          <p:cNvPr id="35" name="Bildplatzhalter 4">
            <a:extLst>
              <a:ext uri="{FF2B5EF4-FFF2-40B4-BE49-F238E27FC236}">
                <a16:creationId xmlns:a16="http://schemas.microsoft.com/office/drawing/2014/main" id="{31CE56E7-8459-4E63-8884-12F6A3FD3779}"/>
              </a:ext>
            </a:extLst>
          </p:cNvPr>
          <p:cNvSpPr>
            <a:spLocks noGrp="1"/>
          </p:cNvSpPr>
          <p:nvPr>
            <p:ph type="pic" sz="quarter" idx="15" hasCustomPrompt="1"/>
          </p:nvPr>
        </p:nvSpPr>
        <p:spPr>
          <a:xfrm>
            <a:off x="431800" y="3003550"/>
            <a:ext cx="2412000" cy="1440000"/>
          </a:xfrm>
          <a:prstGeom prst="rect">
            <a:avLst/>
          </a:prstGeom>
        </p:spPr>
        <p:txBody>
          <a:bodyPr tIns="252000"/>
          <a:lstStyle>
            <a:lvl1pPr algn="ctr">
              <a:defRPr/>
            </a:lvl1pPr>
          </a:lstStyle>
          <a:p>
            <a:r>
              <a:rPr lang="en-GB" dirty="0"/>
              <a:t>Click icon to add picture</a:t>
            </a:r>
          </a:p>
        </p:txBody>
      </p:sp>
      <p:sp>
        <p:nvSpPr>
          <p:cNvPr id="44" name="Bildplatzhalter 4">
            <a:extLst>
              <a:ext uri="{FF2B5EF4-FFF2-40B4-BE49-F238E27FC236}">
                <a16:creationId xmlns:a16="http://schemas.microsoft.com/office/drawing/2014/main" id="{5B0C7535-B439-4B39-8AC6-E1A38C630812}"/>
              </a:ext>
            </a:extLst>
          </p:cNvPr>
          <p:cNvSpPr>
            <a:spLocks noGrp="1"/>
          </p:cNvSpPr>
          <p:nvPr>
            <p:ph type="pic" sz="quarter" idx="18" hasCustomPrompt="1"/>
          </p:nvPr>
        </p:nvSpPr>
        <p:spPr>
          <a:xfrm>
            <a:off x="3366000" y="3003550"/>
            <a:ext cx="2412000" cy="1440000"/>
          </a:xfrm>
          <a:prstGeom prst="rect">
            <a:avLst/>
          </a:prstGeom>
        </p:spPr>
        <p:txBody>
          <a:bodyPr tIns="252000"/>
          <a:lstStyle>
            <a:lvl1pPr algn="ctr">
              <a:defRPr/>
            </a:lvl1pPr>
          </a:lstStyle>
          <a:p>
            <a:r>
              <a:rPr lang="en-GB" dirty="0"/>
              <a:t>Click icon to add picture</a:t>
            </a:r>
          </a:p>
        </p:txBody>
      </p:sp>
      <p:sp>
        <p:nvSpPr>
          <p:cNvPr id="41" name="Bildplatzhalter 4">
            <a:extLst>
              <a:ext uri="{FF2B5EF4-FFF2-40B4-BE49-F238E27FC236}">
                <a16:creationId xmlns:a16="http://schemas.microsoft.com/office/drawing/2014/main" id="{543B743A-98FF-47B5-A2FB-9B8A08EAA6BA}"/>
              </a:ext>
            </a:extLst>
          </p:cNvPr>
          <p:cNvSpPr>
            <a:spLocks noGrp="1"/>
          </p:cNvSpPr>
          <p:nvPr>
            <p:ph type="pic" sz="quarter" idx="17" hasCustomPrompt="1"/>
          </p:nvPr>
        </p:nvSpPr>
        <p:spPr>
          <a:xfrm>
            <a:off x="3366000" y="1276350"/>
            <a:ext cx="2412000" cy="1440000"/>
          </a:xfrm>
          <a:prstGeom prst="rect">
            <a:avLst/>
          </a:prstGeom>
        </p:spPr>
        <p:txBody>
          <a:bodyPr tIns="252000"/>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icon to add pictur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platzhalter 2">
            <a:extLst>
              <a:ext uri="{FF2B5EF4-FFF2-40B4-BE49-F238E27FC236}">
                <a16:creationId xmlns:a16="http://schemas.microsoft.com/office/drawing/2014/main" id="{C233D614-B652-4154-B293-A17642724DDA}"/>
              </a:ext>
            </a:extLst>
          </p:cNvPr>
          <p:cNvSpPr>
            <a:spLocks noGrp="1"/>
          </p:cNvSpPr>
          <p:nvPr>
            <p:ph type="body" sz="quarter" idx="25" hasCustomPrompt="1"/>
          </p:nvPr>
        </p:nvSpPr>
        <p:spPr>
          <a:xfrm>
            <a:off x="278644" y="2453466"/>
            <a:ext cx="1872000" cy="360000"/>
          </a:xfrm>
          <a:prstGeom prst="parallelogram">
            <a:avLst/>
          </a:prstGeom>
          <a:solidFill>
            <a:schemeClr val="accent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 name="Textplatzhalter 2">
            <a:extLst>
              <a:ext uri="{FF2B5EF4-FFF2-40B4-BE49-F238E27FC236}">
                <a16:creationId xmlns:a16="http://schemas.microsoft.com/office/drawing/2014/main" id="{67C705DD-1A7B-400D-9004-9981BC517060}"/>
              </a:ext>
            </a:extLst>
          </p:cNvPr>
          <p:cNvSpPr>
            <a:spLocks noGrp="1"/>
          </p:cNvSpPr>
          <p:nvPr>
            <p:ph type="body" sz="quarter" idx="31" hasCustomPrompt="1"/>
          </p:nvPr>
        </p:nvSpPr>
        <p:spPr>
          <a:xfrm>
            <a:off x="431801" y="2453033"/>
            <a:ext cx="288000" cy="358557"/>
          </a:xfrm>
        </p:spPr>
        <p:txBody>
          <a:bodyPr anchor="ctr" anchorCtr="0"/>
          <a:lstStyle>
            <a:lvl1pPr>
              <a:defRPr sz="2000">
                <a:solidFill>
                  <a:schemeClr val="bg1"/>
                </a:solidFill>
              </a:defRPr>
            </a:lvl1pPr>
          </a:lstStyle>
          <a:p>
            <a:pPr lvl="0"/>
            <a:r>
              <a:rPr lang="de-DE" dirty="0"/>
              <a:t>1</a:t>
            </a:r>
            <a:endParaRPr lang="en-GB" dirty="0"/>
          </a:p>
        </p:txBody>
      </p:sp>
      <p:sp>
        <p:nvSpPr>
          <p:cNvPr id="29" name="Textplatzhalter 2">
            <a:extLst>
              <a:ext uri="{FF2B5EF4-FFF2-40B4-BE49-F238E27FC236}">
                <a16:creationId xmlns:a16="http://schemas.microsoft.com/office/drawing/2014/main" id="{689136D4-EE0E-4B44-A8F1-9434E3CB5B2E}"/>
              </a:ext>
            </a:extLst>
          </p:cNvPr>
          <p:cNvSpPr>
            <a:spLocks noGrp="1"/>
          </p:cNvSpPr>
          <p:nvPr>
            <p:ph type="body" sz="quarter" idx="32" hasCustomPrompt="1"/>
          </p:nvPr>
        </p:nvSpPr>
        <p:spPr>
          <a:xfrm>
            <a:off x="3212844" y="2451590"/>
            <a:ext cx="1872000" cy="360000"/>
          </a:xfrm>
          <a:prstGeom prst="parallelogram">
            <a:avLst/>
          </a:prstGeom>
          <a:solidFill>
            <a:srgbClr val="68658A"/>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0" name="Textplatzhalter 2">
            <a:extLst>
              <a:ext uri="{FF2B5EF4-FFF2-40B4-BE49-F238E27FC236}">
                <a16:creationId xmlns:a16="http://schemas.microsoft.com/office/drawing/2014/main" id="{91F04682-E729-4EF2-979E-2D52D82C9CD1}"/>
              </a:ext>
            </a:extLst>
          </p:cNvPr>
          <p:cNvSpPr>
            <a:spLocks noGrp="1"/>
          </p:cNvSpPr>
          <p:nvPr>
            <p:ph type="body" sz="quarter" idx="33" hasCustomPrompt="1"/>
          </p:nvPr>
        </p:nvSpPr>
        <p:spPr>
          <a:xfrm>
            <a:off x="3366001" y="2451157"/>
            <a:ext cx="288000" cy="358557"/>
          </a:xfrm>
        </p:spPr>
        <p:txBody>
          <a:bodyPr anchor="ctr" anchorCtr="0"/>
          <a:lstStyle>
            <a:lvl1pPr>
              <a:defRPr sz="2000">
                <a:solidFill>
                  <a:schemeClr val="bg1"/>
                </a:solidFill>
              </a:defRPr>
            </a:lvl1pPr>
          </a:lstStyle>
          <a:p>
            <a:pPr lvl="0"/>
            <a:r>
              <a:rPr lang="de-DE" dirty="0"/>
              <a:t>2</a:t>
            </a:r>
            <a:endParaRPr lang="en-GB" dirty="0"/>
          </a:p>
        </p:txBody>
      </p:sp>
      <p:sp>
        <p:nvSpPr>
          <p:cNvPr id="31" name="Textplatzhalter 2">
            <a:extLst>
              <a:ext uri="{FF2B5EF4-FFF2-40B4-BE49-F238E27FC236}">
                <a16:creationId xmlns:a16="http://schemas.microsoft.com/office/drawing/2014/main" id="{61FD6AA2-2EC0-4564-8F53-F5AE3EACF230}"/>
              </a:ext>
            </a:extLst>
          </p:cNvPr>
          <p:cNvSpPr>
            <a:spLocks noGrp="1"/>
          </p:cNvSpPr>
          <p:nvPr>
            <p:ph type="body" sz="quarter" idx="34" hasCustomPrompt="1"/>
          </p:nvPr>
        </p:nvSpPr>
        <p:spPr>
          <a:xfrm>
            <a:off x="6116308" y="2451157"/>
            <a:ext cx="1872000" cy="360000"/>
          </a:xfrm>
          <a:prstGeom prst="parallelogram">
            <a:avLst/>
          </a:prstGeom>
          <a:solidFill>
            <a:schemeClr val="accent5"/>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3" name="Textplatzhalter 2">
            <a:extLst>
              <a:ext uri="{FF2B5EF4-FFF2-40B4-BE49-F238E27FC236}">
                <a16:creationId xmlns:a16="http://schemas.microsoft.com/office/drawing/2014/main" id="{38B8212E-E89F-4BD7-9C06-203D9B6F5002}"/>
              </a:ext>
            </a:extLst>
          </p:cNvPr>
          <p:cNvSpPr>
            <a:spLocks noGrp="1"/>
          </p:cNvSpPr>
          <p:nvPr>
            <p:ph type="body" sz="quarter" idx="35" hasCustomPrompt="1"/>
          </p:nvPr>
        </p:nvSpPr>
        <p:spPr>
          <a:xfrm>
            <a:off x="6269465" y="2450724"/>
            <a:ext cx="288000" cy="358557"/>
          </a:xfrm>
        </p:spPr>
        <p:txBody>
          <a:bodyPr anchor="ctr" anchorCtr="0"/>
          <a:lstStyle>
            <a:lvl1pPr>
              <a:defRPr sz="2000">
                <a:solidFill>
                  <a:schemeClr val="bg1"/>
                </a:solidFill>
              </a:defRPr>
            </a:lvl1pPr>
          </a:lstStyle>
          <a:p>
            <a:pPr lvl="0"/>
            <a:r>
              <a:rPr lang="de-DE" dirty="0"/>
              <a:t>3</a:t>
            </a:r>
            <a:endParaRPr lang="en-GB" dirty="0"/>
          </a:p>
        </p:txBody>
      </p:sp>
      <p:sp>
        <p:nvSpPr>
          <p:cNvPr id="34" name="Textplatzhalter 2">
            <a:extLst>
              <a:ext uri="{FF2B5EF4-FFF2-40B4-BE49-F238E27FC236}">
                <a16:creationId xmlns:a16="http://schemas.microsoft.com/office/drawing/2014/main" id="{C6898EEB-DDF3-44C0-A71E-ABE38921A00D}"/>
              </a:ext>
            </a:extLst>
          </p:cNvPr>
          <p:cNvSpPr>
            <a:spLocks noGrp="1"/>
          </p:cNvSpPr>
          <p:nvPr>
            <p:ph type="body" sz="quarter" idx="36" hasCustomPrompt="1"/>
          </p:nvPr>
        </p:nvSpPr>
        <p:spPr>
          <a:xfrm>
            <a:off x="275318" y="4176915"/>
            <a:ext cx="1872000" cy="360000"/>
          </a:xfrm>
          <a:prstGeom prst="parallelogram">
            <a:avLst/>
          </a:prstGeom>
          <a:solidFill>
            <a:schemeClr val="tx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6" name="Textplatzhalter 2">
            <a:extLst>
              <a:ext uri="{FF2B5EF4-FFF2-40B4-BE49-F238E27FC236}">
                <a16:creationId xmlns:a16="http://schemas.microsoft.com/office/drawing/2014/main" id="{CE84F752-38E9-4B44-9CFE-D522A717200A}"/>
              </a:ext>
            </a:extLst>
          </p:cNvPr>
          <p:cNvSpPr>
            <a:spLocks noGrp="1"/>
          </p:cNvSpPr>
          <p:nvPr>
            <p:ph type="body" sz="quarter" idx="37" hasCustomPrompt="1"/>
          </p:nvPr>
        </p:nvSpPr>
        <p:spPr>
          <a:xfrm>
            <a:off x="428475" y="4176482"/>
            <a:ext cx="288000" cy="358557"/>
          </a:xfrm>
        </p:spPr>
        <p:txBody>
          <a:bodyPr anchor="ctr" anchorCtr="0"/>
          <a:lstStyle>
            <a:lvl1pPr>
              <a:defRPr sz="2000">
                <a:solidFill>
                  <a:schemeClr val="bg1"/>
                </a:solidFill>
              </a:defRPr>
            </a:lvl1pPr>
          </a:lstStyle>
          <a:p>
            <a:pPr lvl="0"/>
            <a:r>
              <a:rPr lang="de-DE" dirty="0"/>
              <a:t>4</a:t>
            </a:r>
            <a:endParaRPr lang="en-GB" dirty="0"/>
          </a:p>
        </p:txBody>
      </p:sp>
      <p:sp>
        <p:nvSpPr>
          <p:cNvPr id="37" name="Textplatzhalter 2">
            <a:extLst>
              <a:ext uri="{FF2B5EF4-FFF2-40B4-BE49-F238E27FC236}">
                <a16:creationId xmlns:a16="http://schemas.microsoft.com/office/drawing/2014/main" id="{74A7CF4E-951E-4108-9E4E-0BF02AC2A973}"/>
              </a:ext>
            </a:extLst>
          </p:cNvPr>
          <p:cNvSpPr>
            <a:spLocks noGrp="1"/>
          </p:cNvSpPr>
          <p:nvPr>
            <p:ph type="body" sz="quarter" idx="38" hasCustomPrompt="1"/>
          </p:nvPr>
        </p:nvSpPr>
        <p:spPr>
          <a:xfrm>
            <a:off x="3216780" y="4184370"/>
            <a:ext cx="1872000" cy="360000"/>
          </a:xfrm>
          <a:prstGeom prst="parallelogram">
            <a:avLst/>
          </a:prstGeom>
          <a:solidFill>
            <a:schemeClr val="accent3"/>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9" name="Textplatzhalter 2">
            <a:extLst>
              <a:ext uri="{FF2B5EF4-FFF2-40B4-BE49-F238E27FC236}">
                <a16:creationId xmlns:a16="http://schemas.microsoft.com/office/drawing/2014/main" id="{751FB853-CA6B-40A2-A5FD-7CD327129B97}"/>
              </a:ext>
            </a:extLst>
          </p:cNvPr>
          <p:cNvSpPr>
            <a:spLocks noGrp="1"/>
          </p:cNvSpPr>
          <p:nvPr>
            <p:ph type="body" sz="quarter" idx="39" hasCustomPrompt="1"/>
          </p:nvPr>
        </p:nvSpPr>
        <p:spPr>
          <a:xfrm>
            <a:off x="3369937" y="4183937"/>
            <a:ext cx="288000" cy="358557"/>
          </a:xfrm>
        </p:spPr>
        <p:txBody>
          <a:bodyPr anchor="ctr" anchorCtr="0"/>
          <a:lstStyle>
            <a:lvl1pPr>
              <a:defRPr sz="2000">
                <a:solidFill>
                  <a:schemeClr val="bg1"/>
                </a:solidFill>
              </a:defRPr>
            </a:lvl1pPr>
          </a:lstStyle>
          <a:p>
            <a:pPr lvl="0"/>
            <a:r>
              <a:rPr lang="de-DE" dirty="0"/>
              <a:t>5</a:t>
            </a:r>
            <a:endParaRPr lang="en-GB" dirty="0"/>
          </a:p>
        </p:txBody>
      </p:sp>
      <p:sp>
        <p:nvSpPr>
          <p:cNvPr id="40" name="Textplatzhalter 2">
            <a:extLst>
              <a:ext uri="{FF2B5EF4-FFF2-40B4-BE49-F238E27FC236}">
                <a16:creationId xmlns:a16="http://schemas.microsoft.com/office/drawing/2014/main" id="{A60BE607-1D0A-4126-91EA-E7D36E52408E}"/>
              </a:ext>
            </a:extLst>
          </p:cNvPr>
          <p:cNvSpPr>
            <a:spLocks noGrp="1"/>
          </p:cNvSpPr>
          <p:nvPr>
            <p:ph type="body" sz="quarter" idx="40" hasCustomPrompt="1"/>
          </p:nvPr>
        </p:nvSpPr>
        <p:spPr>
          <a:xfrm>
            <a:off x="6116308" y="4183937"/>
            <a:ext cx="1872000" cy="360000"/>
          </a:xfrm>
          <a:prstGeom prst="parallelogram">
            <a:avLst/>
          </a:prstGeom>
          <a:solidFill>
            <a:schemeClr val="bg1">
              <a:lumMod val="75000"/>
            </a:schemeClr>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42" name="Textplatzhalter 2">
            <a:extLst>
              <a:ext uri="{FF2B5EF4-FFF2-40B4-BE49-F238E27FC236}">
                <a16:creationId xmlns:a16="http://schemas.microsoft.com/office/drawing/2014/main" id="{4C771AF4-1E47-4BAD-8A2F-14A1022BD4A1}"/>
              </a:ext>
            </a:extLst>
          </p:cNvPr>
          <p:cNvSpPr>
            <a:spLocks noGrp="1"/>
          </p:cNvSpPr>
          <p:nvPr>
            <p:ph type="body" sz="quarter" idx="41" hasCustomPrompt="1"/>
          </p:nvPr>
        </p:nvSpPr>
        <p:spPr>
          <a:xfrm>
            <a:off x="6269465" y="4183504"/>
            <a:ext cx="288000" cy="358557"/>
          </a:xfrm>
        </p:spPr>
        <p:txBody>
          <a:bodyPr anchor="ctr" anchorCtr="0"/>
          <a:lstStyle>
            <a:lvl1pPr>
              <a:defRPr sz="2000">
                <a:solidFill>
                  <a:schemeClr val="bg1"/>
                </a:solidFill>
              </a:defRPr>
            </a:lvl1pPr>
          </a:lstStyle>
          <a:p>
            <a:pPr lvl="0"/>
            <a:r>
              <a:rPr lang="de-DE" dirty="0"/>
              <a:t>6</a:t>
            </a:r>
            <a:endParaRPr lang="en-GB" dirty="0"/>
          </a:p>
        </p:txBody>
      </p: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2347441790"/>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and pictures 05">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1" name="Bildplatzhalter 4">
            <a:extLst>
              <a:ext uri="{FF2B5EF4-FFF2-40B4-BE49-F238E27FC236}">
                <a16:creationId xmlns:a16="http://schemas.microsoft.com/office/drawing/2014/main" id="{C5B3FDD5-FD09-4865-9343-95520D132396}"/>
              </a:ext>
            </a:extLst>
          </p:cNvPr>
          <p:cNvSpPr>
            <a:spLocks noGrp="1"/>
          </p:cNvSpPr>
          <p:nvPr>
            <p:ph type="pic" sz="quarter" idx="17" hasCustomPrompt="1"/>
          </p:nvPr>
        </p:nvSpPr>
        <p:spPr>
          <a:xfrm>
            <a:off x="6154397" y="3273028"/>
            <a:ext cx="2988000" cy="1872000"/>
          </a:xfrm>
          <a:prstGeom prst="rect">
            <a:avLst/>
          </a:prstGeom>
        </p:spPr>
        <p:txBody>
          <a:bodyPr tIns="540000"/>
          <a:lstStyle>
            <a:lvl1pPr algn="ctr">
              <a:defRPr/>
            </a:lvl1pPr>
          </a:lstStyle>
          <a:p>
            <a:r>
              <a:rPr lang="en-GB" dirty="0"/>
              <a:t>Click icon to add picture</a:t>
            </a: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2" y="1276350"/>
            <a:ext cx="2988000" cy="1872000"/>
          </a:xfrm>
          <a:prstGeom prst="rect">
            <a:avLst/>
          </a:prstGeom>
        </p:spPr>
        <p:txBody>
          <a:bodyPr tIns="540000"/>
          <a:lstStyle>
            <a:lvl1pPr algn="ctr">
              <a:defRPr/>
            </a:lvl1pPr>
          </a:lstStyle>
          <a:p>
            <a:r>
              <a:rPr lang="en-GB" dirty="0"/>
              <a:t>Click icon to add picture</a:t>
            </a:r>
          </a:p>
        </p:txBody>
      </p:sp>
      <p:sp>
        <p:nvSpPr>
          <p:cNvPr id="49" name="Bildplatzhalter 4">
            <a:extLst>
              <a:ext uri="{FF2B5EF4-FFF2-40B4-BE49-F238E27FC236}">
                <a16:creationId xmlns:a16="http://schemas.microsoft.com/office/drawing/2014/main" id="{60A86232-9890-47B2-B15E-5DC21B15D181}"/>
              </a:ext>
            </a:extLst>
          </p:cNvPr>
          <p:cNvSpPr>
            <a:spLocks noGrp="1"/>
          </p:cNvSpPr>
          <p:nvPr>
            <p:ph type="pic" sz="quarter" idx="14" hasCustomPrompt="1"/>
          </p:nvPr>
        </p:nvSpPr>
        <p:spPr>
          <a:xfrm>
            <a:off x="6154397" y="1276350"/>
            <a:ext cx="2988000" cy="1872000"/>
          </a:xfrm>
          <a:prstGeom prst="rect">
            <a:avLst/>
          </a:prstGeom>
        </p:spPr>
        <p:txBody>
          <a:bodyPr tIns="540000"/>
          <a:lstStyle>
            <a:lvl1pPr algn="ctr">
              <a:defRPr/>
            </a:lvl1pPr>
          </a:lstStyle>
          <a:p>
            <a:r>
              <a:rPr lang="en-GB" dirty="0"/>
              <a:t>Click icon to add picture</a:t>
            </a:r>
          </a:p>
        </p:txBody>
      </p:sp>
      <p:sp>
        <p:nvSpPr>
          <p:cNvPr id="55" name="Bildplatzhalter 4">
            <a:extLst>
              <a:ext uri="{FF2B5EF4-FFF2-40B4-BE49-F238E27FC236}">
                <a16:creationId xmlns:a16="http://schemas.microsoft.com/office/drawing/2014/main" id="{51159B5C-5AD0-4136-BBCE-BA02255FBAB8}"/>
              </a:ext>
            </a:extLst>
          </p:cNvPr>
          <p:cNvSpPr>
            <a:spLocks noGrp="1"/>
          </p:cNvSpPr>
          <p:nvPr>
            <p:ph type="pic" sz="quarter" idx="15" hasCustomPrompt="1"/>
          </p:nvPr>
        </p:nvSpPr>
        <p:spPr>
          <a:xfrm>
            <a:off x="3078000" y="1276350"/>
            <a:ext cx="2988000" cy="1872000"/>
          </a:xfrm>
          <a:prstGeom prst="rect">
            <a:avLst/>
          </a:prstGeom>
        </p:spPr>
        <p:txBody>
          <a:bodyPr tIns="540000"/>
          <a:lstStyle>
            <a:lvl1pPr algn="ctr">
              <a:defRPr/>
            </a:lvl1pPr>
          </a:lstStyle>
          <a:p>
            <a:r>
              <a:rPr lang="en-GB" dirty="0"/>
              <a:t>Click icon to add picture</a:t>
            </a:r>
          </a:p>
        </p:txBody>
      </p:sp>
      <p:sp>
        <p:nvSpPr>
          <p:cNvPr id="58" name="Bildplatzhalter 4">
            <a:extLst>
              <a:ext uri="{FF2B5EF4-FFF2-40B4-BE49-F238E27FC236}">
                <a16:creationId xmlns:a16="http://schemas.microsoft.com/office/drawing/2014/main" id="{D0DFFE84-3AE3-4EAF-8F5A-EAA1B7523848}"/>
              </a:ext>
            </a:extLst>
          </p:cNvPr>
          <p:cNvSpPr>
            <a:spLocks noGrp="1"/>
          </p:cNvSpPr>
          <p:nvPr>
            <p:ph type="pic" sz="quarter" idx="16" hasCustomPrompt="1"/>
          </p:nvPr>
        </p:nvSpPr>
        <p:spPr>
          <a:xfrm>
            <a:off x="-2" y="3271500"/>
            <a:ext cx="2988000" cy="1872000"/>
          </a:xfrm>
          <a:prstGeom prst="rect">
            <a:avLst/>
          </a:prstGeom>
        </p:spPr>
        <p:txBody>
          <a:bodyPr tIns="540000"/>
          <a:lstStyle>
            <a:lvl1pPr algn="ctr">
              <a:defRPr/>
            </a:lvl1pPr>
          </a:lstStyle>
          <a:p>
            <a:r>
              <a:rPr lang="en-GB" dirty="0"/>
              <a:t>Click icon to add picture</a:t>
            </a:r>
          </a:p>
        </p:txBody>
      </p:sp>
      <p:sp>
        <p:nvSpPr>
          <p:cNvPr id="64" name="Bildplatzhalter 4">
            <a:extLst>
              <a:ext uri="{FF2B5EF4-FFF2-40B4-BE49-F238E27FC236}">
                <a16:creationId xmlns:a16="http://schemas.microsoft.com/office/drawing/2014/main" id="{D4BD1F6B-430C-4DA2-8F47-BED1607D6681}"/>
              </a:ext>
            </a:extLst>
          </p:cNvPr>
          <p:cNvSpPr>
            <a:spLocks noGrp="1"/>
          </p:cNvSpPr>
          <p:nvPr>
            <p:ph type="pic" sz="quarter" idx="18" hasCustomPrompt="1"/>
          </p:nvPr>
        </p:nvSpPr>
        <p:spPr>
          <a:xfrm>
            <a:off x="3078000" y="3272264"/>
            <a:ext cx="2988000" cy="1872000"/>
          </a:xfrm>
          <a:prstGeom prst="rect">
            <a:avLst/>
          </a:prstGeom>
        </p:spPr>
        <p:txBody>
          <a:bodyPr tIns="540000"/>
          <a:lstStyle>
            <a:lvl1pPr algn="ctr">
              <a:defRPr/>
            </a:lvl1pPr>
          </a:lstStyle>
          <a:p>
            <a:r>
              <a:rPr lang="en-GB" dirty="0"/>
              <a:t>Click icon to add picture</a:t>
            </a:r>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platzhalter 2">
            <a:extLst>
              <a:ext uri="{FF2B5EF4-FFF2-40B4-BE49-F238E27FC236}">
                <a16:creationId xmlns:a16="http://schemas.microsoft.com/office/drawing/2014/main" id="{C07F60D8-2B46-41DF-A282-D85E64522AE7}"/>
              </a:ext>
            </a:extLst>
          </p:cNvPr>
          <p:cNvSpPr>
            <a:spLocks noGrp="1"/>
          </p:cNvSpPr>
          <p:nvPr>
            <p:ph type="body" sz="quarter" idx="25" hasCustomPrompt="1"/>
          </p:nvPr>
        </p:nvSpPr>
        <p:spPr>
          <a:xfrm>
            <a:off x="-2821" y="2566800"/>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accent2"/>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26" name="Textplatzhalter 2">
            <a:extLst>
              <a:ext uri="{FF2B5EF4-FFF2-40B4-BE49-F238E27FC236}">
                <a16:creationId xmlns:a16="http://schemas.microsoft.com/office/drawing/2014/main" id="{D7EB4CF4-0FD0-40B8-B8ED-D9B108AD69B3}"/>
              </a:ext>
            </a:extLst>
          </p:cNvPr>
          <p:cNvSpPr>
            <a:spLocks noGrp="1"/>
          </p:cNvSpPr>
          <p:nvPr>
            <p:ph type="body" sz="quarter" idx="31" hasCustomPrompt="1"/>
          </p:nvPr>
        </p:nvSpPr>
        <p:spPr>
          <a:xfrm>
            <a:off x="101764" y="2568243"/>
            <a:ext cx="288000" cy="358557"/>
          </a:xfrm>
        </p:spPr>
        <p:txBody>
          <a:bodyPr anchor="ctr" anchorCtr="0"/>
          <a:lstStyle>
            <a:lvl1pPr>
              <a:defRPr sz="2000">
                <a:solidFill>
                  <a:schemeClr val="bg1"/>
                </a:solidFill>
              </a:defRPr>
            </a:lvl1pPr>
          </a:lstStyle>
          <a:p>
            <a:pPr lvl="0"/>
            <a:r>
              <a:rPr lang="de-DE" dirty="0"/>
              <a:t>1</a:t>
            </a:r>
            <a:endParaRPr lang="en-GB" dirty="0"/>
          </a:p>
        </p:txBody>
      </p:sp>
      <p:sp>
        <p:nvSpPr>
          <p:cNvPr id="36" name="Textplatzhalter 2">
            <a:extLst>
              <a:ext uri="{FF2B5EF4-FFF2-40B4-BE49-F238E27FC236}">
                <a16:creationId xmlns:a16="http://schemas.microsoft.com/office/drawing/2014/main" id="{B98FE7F7-7DFA-4FC4-8EAC-1E87C29AA26B}"/>
              </a:ext>
            </a:extLst>
          </p:cNvPr>
          <p:cNvSpPr>
            <a:spLocks noGrp="1"/>
          </p:cNvSpPr>
          <p:nvPr>
            <p:ph type="body" sz="quarter" idx="32" hasCustomPrompt="1"/>
          </p:nvPr>
        </p:nvSpPr>
        <p:spPr>
          <a:xfrm>
            <a:off x="3076395" y="2566800"/>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rgbClr val="68658A"/>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7" name="Textplatzhalter 2">
            <a:extLst>
              <a:ext uri="{FF2B5EF4-FFF2-40B4-BE49-F238E27FC236}">
                <a16:creationId xmlns:a16="http://schemas.microsoft.com/office/drawing/2014/main" id="{5BEDB706-E61A-4B4F-A952-111211F4215C}"/>
              </a:ext>
            </a:extLst>
          </p:cNvPr>
          <p:cNvSpPr>
            <a:spLocks noGrp="1"/>
          </p:cNvSpPr>
          <p:nvPr>
            <p:ph type="body" sz="quarter" idx="33" hasCustomPrompt="1"/>
          </p:nvPr>
        </p:nvSpPr>
        <p:spPr>
          <a:xfrm>
            <a:off x="3180980" y="2568243"/>
            <a:ext cx="288000" cy="358557"/>
          </a:xfrm>
        </p:spPr>
        <p:txBody>
          <a:bodyPr anchor="ctr" anchorCtr="0"/>
          <a:lstStyle>
            <a:lvl1pPr>
              <a:defRPr sz="2000">
                <a:solidFill>
                  <a:schemeClr val="bg1"/>
                </a:solidFill>
              </a:defRPr>
            </a:lvl1pPr>
          </a:lstStyle>
          <a:p>
            <a:pPr lvl="0"/>
            <a:r>
              <a:rPr lang="de-DE" dirty="0"/>
              <a:t>2</a:t>
            </a:r>
            <a:endParaRPr lang="en-GB" dirty="0"/>
          </a:p>
        </p:txBody>
      </p:sp>
      <p:sp>
        <p:nvSpPr>
          <p:cNvPr id="44" name="Textplatzhalter 2">
            <a:extLst>
              <a:ext uri="{FF2B5EF4-FFF2-40B4-BE49-F238E27FC236}">
                <a16:creationId xmlns:a16="http://schemas.microsoft.com/office/drawing/2014/main" id="{7BA4BF16-5E1F-46F6-B971-5B1817EC145F}"/>
              </a:ext>
            </a:extLst>
          </p:cNvPr>
          <p:cNvSpPr>
            <a:spLocks noGrp="1"/>
          </p:cNvSpPr>
          <p:nvPr>
            <p:ph type="body" sz="quarter" idx="34" hasCustomPrompt="1"/>
          </p:nvPr>
        </p:nvSpPr>
        <p:spPr>
          <a:xfrm>
            <a:off x="6152226" y="2566800"/>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accent5"/>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45" name="Textplatzhalter 2">
            <a:extLst>
              <a:ext uri="{FF2B5EF4-FFF2-40B4-BE49-F238E27FC236}">
                <a16:creationId xmlns:a16="http://schemas.microsoft.com/office/drawing/2014/main" id="{AC461193-B038-4B40-A557-5ABEA28CB065}"/>
              </a:ext>
            </a:extLst>
          </p:cNvPr>
          <p:cNvSpPr>
            <a:spLocks noGrp="1"/>
          </p:cNvSpPr>
          <p:nvPr>
            <p:ph type="body" sz="quarter" idx="35" hasCustomPrompt="1"/>
          </p:nvPr>
        </p:nvSpPr>
        <p:spPr>
          <a:xfrm>
            <a:off x="6256811" y="2568243"/>
            <a:ext cx="288000" cy="358557"/>
          </a:xfrm>
        </p:spPr>
        <p:txBody>
          <a:bodyPr anchor="ctr" anchorCtr="0"/>
          <a:lstStyle>
            <a:lvl1pPr>
              <a:defRPr sz="2000">
                <a:solidFill>
                  <a:schemeClr val="bg1"/>
                </a:solidFill>
              </a:defRPr>
            </a:lvl1pPr>
          </a:lstStyle>
          <a:p>
            <a:pPr lvl="0"/>
            <a:r>
              <a:rPr lang="de-DE" dirty="0"/>
              <a:t>3</a:t>
            </a:r>
            <a:endParaRPr lang="en-GB" dirty="0"/>
          </a:p>
        </p:txBody>
      </p:sp>
      <p:sp>
        <p:nvSpPr>
          <p:cNvPr id="46" name="Textplatzhalter 2">
            <a:extLst>
              <a:ext uri="{FF2B5EF4-FFF2-40B4-BE49-F238E27FC236}">
                <a16:creationId xmlns:a16="http://schemas.microsoft.com/office/drawing/2014/main" id="{CCCE9AF7-76FD-4593-8C71-FB7A9A94FBA6}"/>
              </a:ext>
            </a:extLst>
          </p:cNvPr>
          <p:cNvSpPr>
            <a:spLocks noGrp="1"/>
          </p:cNvSpPr>
          <p:nvPr>
            <p:ph type="body" sz="quarter" idx="36" hasCustomPrompt="1"/>
          </p:nvPr>
        </p:nvSpPr>
        <p:spPr>
          <a:xfrm>
            <a:off x="0" y="4564095"/>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tx2"/>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47" name="Textplatzhalter 2">
            <a:extLst>
              <a:ext uri="{FF2B5EF4-FFF2-40B4-BE49-F238E27FC236}">
                <a16:creationId xmlns:a16="http://schemas.microsoft.com/office/drawing/2014/main" id="{26764C44-0F44-45AD-92F2-21B3A3021E0C}"/>
              </a:ext>
            </a:extLst>
          </p:cNvPr>
          <p:cNvSpPr>
            <a:spLocks noGrp="1"/>
          </p:cNvSpPr>
          <p:nvPr>
            <p:ph type="body" sz="quarter" idx="37" hasCustomPrompt="1"/>
          </p:nvPr>
        </p:nvSpPr>
        <p:spPr>
          <a:xfrm>
            <a:off x="104585" y="4565538"/>
            <a:ext cx="288000" cy="358557"/>
          </a:xfrm>
        </p:spPr>
        <p:txBody>
          <a:bodyPr anchor="ctr" anchorCtr="0"/>
          <a:lstStyle>
            <a:lvl1pPr>
              <a:defRPr sz="2000">
                <a:solidFill>
                  <a:schemeClr val="bg1"/>
                </a:solidFill>
              </a:defRPr>
            </a:lvl1pPr>
          </a:lstStyle>
          <a:p>
            <a:pPr lvl="0"/>
            <a:r>
              <a:rPr lang="de-DE" dirty="0"/>
              <a:t>4</a:t>
            </a:r>
            <a:endParaRPr lang="en-GB" dirty="0"/>
          </a:p>
        </p:txBody>
      </p:sp>
      <p:sp>
        <p:nvSpPr>
          <p:cNvPr id="48" name="Textplatzhalter 2">
            <a:extLst>
              <a:ext uri="{FF2B5EF4-FFF2-40B4-BE49-F238E27FC236}">
                <a16:creationId xmlns:a16="http://schemas.microsoft.com/office/drawing/2014/main" id="{1CC86023-B483-4389-9A09-422A70731169}"/>
              </a:ext>
            </a:extLst>
          </p:cNvPr>
          <p:cNvSpPr>
            <a:spLocks noGrp="1"/>
          </p:cNvSpPr>
          <p:nvPr>
            <p:ph type="body" sz="quarter" idx="38" hasCustomPrompt="1"/>
          </p:nvPr>
        </p:nvSpPr>
        <p:spPr>
          <a:xfrm>
            <a:off x="3076395" y="4564095"/>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accent3"/>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50" name="Textplatzhalter 2">
            <a:extLst>
              <a:ext uri="{FF2B5EF4-FFF2-40B4-BE49-F238E27FC236}">
                <a16:creationId xmlns:a16="http://schemas.microsoft.com/office/drawing/2014/main" id="{A831EC76-BFDE-436D-89C2-3C2FC96C21C9}"/>
              </a:ext>
            </a:extLst>
          </p:cNvPr>
          <p:cNvSpPr>
            <a:spLocks noGrp="1"/>
          </p:cNvSpPr>
          <p:nvPr>
            <p:ph type="body" sz="quarter" idx="39" hasCustomPrompt="1"/>
          </p:nvPr>
        </p:nvSpPr>
        <p:spPr>
          <a:xfrm>
            <a:off x="3180980" y="4565538"/>
            <a:ext cx="288000" cy="358557"/>
          </a:xfrm>
        </p:spPr>
        <p:txBody>
          <a:bodyPr anchor="ctr" anchorCtr="0"/>
          <a:lstStyle>
            <a:lvl1pPr>
              <a:defRPr sz="2000">
                <a:solidFill>
                  <a:schemeClr val="bg1"/>
                </a:solidFill>
              </a:defRPr>
            </a:lvl1pPr>
          </a:lstStyle>
          <a:p>
            <a:pPr lvl="0"/>
            <a:r>
              <a:rPr lang="de-DE" dirty="0"/>
              <a:t>5</a:t>
            </a:r>
            <a:endParaRPr lang="en-GB" dirty="0"/>
          </a:p>
        </p:txBody>
      </p:sp>
      <p:sp>
        <p:nvSpPr>
          <p:cNvPr id="51" name="Textplatzhalter 2">
            <a:extLst>
              <a:ext uri="{FF2B5EF4-FFF2-40B4-BE49-F238E27FC236}">
                <a16:creationId xmlns:a16="http://schemas.microsoft.com/office/drawing/2014/main" id="{DD6526E1-5960-49A1-9DA4-42FCA85997F0}"/>
              </a:ext>
            </a:extLst>
          </p:cNvPr>
          <p:cNvSpPr>
            <a:spLocks noGrp="1"/>
          </p:cNvSpPr>
          <p:nvPr>
            <p:ph type="body" sz="quarter" idx="40" hasCustomPrompt="1"/>
          </p:nvPr>
        </p:nvSpPr>
        <p:spPr>
          <a:xfrm>
            <a:off x="6148441" y="4564095"/>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bg1">
              <a:lumMod val="75000"/>
            </a:schemeClr>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52" name="Textplatzhalter 2">
            <a:extLst>
              <a:ext uri="{FF2B5EF4-FFF2-40B4-BE49-F238E27FC236}">
                <a16:creationId xmlns:a16="http://schemas.microsoft.com/office/drawing/2014/main" id="{E0E0D4C0-6910-490A-8005-E5B04B04C959}"/>
              </a:ext>
            </a:extLst>
          </p:cNvPr>
          <p:cNvSpPr>
            <a:spLocks noGrp="1"/>
          </p:cNvSpPr>
          <p:nvPr>
            <p:ph type="body" sz="quarter" idx="41" hasCustomPrompt="1"/>
          </p:nvPr>
        </p:nvSpPr>
        <p:spPr>
          <a:xfrm>
            <a:off x="6253026" y="4565538"/>
            <a:ext cx="288000" cy="358557"/>
          </a:xfrm>
        </p:spPr>
        <p:txBody>
          <a:bodyPr anchor="ctr" anchorCtr="0"/>
          <a:lstStyle>
            <a:lvl1pPr>
              <a:defRPr sz="2000">
                <a:solidFill>
                  <a:schemeClr val="bg1"/>
                </a:solidFill>
              </a:defRPr>
            </a:lvl1pPr>
          </a:lstStyle>
          <a:p>
            <a:pPr lvl="0"/>
            <a:r>
              <a:rPr lang="de-DE" dirty="0"/>
              <a:t>6</a:t>
            </a:r>
            <a:endParaRPr lang="en-GB" dirty="0"/>
          </a:p>
        </p:txBody>
      </p:sp>
      <p:sp>
        <p:nvSpPr>
          <p:cNvPr id="2" name="Fußzeilenplatzhalter 1">
            <a:extLst>
              <a:ext uri="{FF2B5EF4-FFF2-40B4-BE49-F238E27FC236}">
                <a16:creationId xmlns:a16="http://schemas.microsoft.com/office/drawing/2014/main" id="{7DCEA4E5-3E6B-495D-AB30-76DB231C29BB}"/>
              </a:ext>
            </a:extLst>
          </p:cNvPr>
          <p:cNvSpPr>
            <a:spLocks noGrp="1"/>
          </p:cNvSpPr>
          <p:nvPr>
            <p:ph type="ftr" sz="quarter" idx="42"/>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621462796"/>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1926123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20" name="Picture Placeholder 99">
            <a:extLst>
              <a:ext uri="{FF2B5EF4-FFF2-40B4-BE49-F238E27FC236}">
                <a16:creationId xmlns:a16="http://schemas.microsoft.com/office/drawing/2014/main" id="{9BE88126-460D-408C-99BA-C2A7A2A02E69}"/>
              </a:ext>
            </a:extLst>
          </p:cNvPr>
          <p:cNvSpPr>
            <a:spLocks noGrp="1"/>
          </p:cNvSpPr>
          <p:nvPr>
            <p:ph type="pic" sz="quarter" idx="20"/>
          </p:nvPr>
        </p:nvSpPr>
        <p:spPr>
          <a:xfrm>
            <a:off x="0" y="1341475"/>
            <a:ext cx="3785031" cy="2783602"/>
          </a:xfrm>
          <a:custGeom>
            <a:avLst/>
            <a:gdLst>
              <a:gd name="connsiteX0" fmla="*/ 0 w 3144838"/>
              <a:gd name="connsiteY0" fmla="*/ 0 h 2411905"/>
              <a:gd name="connsiteX1" fmla="*/ 3144838 w 3144838"/>
              <a:gd name="connsiteY1" fmla="*/ 0 h 2411905"/>
              <a:gd name="connsiteX2" fmla="*/ 3144838 w 3144838"/>
              <a:gd name="connsiteY2" fmla="*/ 10296 h 2411905"/>
              <a:gd name="connsiteX3" fmla="*/ 2366923 w 3144838"/>
              <a:gd name="connsiteY3" fmla="*/ 2411905 h 2411905"/>
              <a:gd name="connsiteX4" fmla="*/ 0 w 3144838"/>
              <a:gd name="connsiteY4" fmla="*/ 2411905 h 241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4838" h="2411905">
                <a:moveTo>
                  <a:pt x="0" y="0"/>
                </a:moveTo>
                <a:lnTo>
                  <a:pt x="3144838" y="0"/>
                </a:lnTo>
                <a:lnTo>
                  <a:pt x="3144838" y="10296"/>
                </a:lnTo>
                <a:lnTo>
                  <a:pt x="2366923"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21" name="Picture Placeholder 101">
            <a:extLst>
              <a:ext uri="{FF2B5EF4-FFF2-40B4-BE49-F238E27FC236}">
                <a16:creationId xmlns:a16="http://schemas.microsoft.com/office/drawing/2014/main" id="{C6D64E96-740A-4A3C-B12D-4E9BD2E8A834}"/>
              </a:ext>
            </a:extLst>
          </p:cNvPr>
          <p:cNvSpPr>
            <a:spLocks noGrp="1"/>
          </p:cNvSpPr>
          <p:nvPr>
            <p:ph type="pic" sz="quarter" idx="21"/>
          </p:nvPr>
        </p:nvSpPr>
        <p:spPr>
          <a:xfrm>
            <a:off x="2873318" y="1341474"/>
            <a:ext cx="3611189" cy="2783601"/>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23" name="Picture Placeholder 105">
            <a:extLst>
              <a:ext uri="{FF2B5EF4-FFF2-40B4-BE49-F238E27FC236}">
                <a16:creationId xmlns:a16="http://schemas.microsoft.com/office/drawing/2014/main" id="{289297E2-217A-4715-97A0-EA8B45DC9471}"/>
              </a:ext>
            </a:extLst>
          </p:cNvPr>
          <p:cNvSpPr>
            <a:spLocks noGrp="1"/>
          </p:cNvSpPr>
          <p:nvPr>
            <p:ph type="pic" sz="quarter" idx="23"/>
          </p:nvPr>
        </p:nvSpPr>
        <p:spPr>
          <a:xfrm>
            <a:off x="5572794" y="1341477"/>
            <a:ext cx="3554868" cy="2783602"/>
          </a:xfrm>
          <a:custGeom>
            <a:avLst/>
            <a:gdLst>
              <a:gd name="connsiteX0" fmla="*/ 782995 w 2953604"/>
              <a:gd name="connsiteY0" fmla="*/ 0 h 2411906"/>
              <a:gd name="connsiteX1" fmla="*/ 1619001 w 2953604"/>
              <a:gd name="connsiteY1" fmla="*/ 0 h 2411906"/>
              <a:gd name="connsiteX2" fmla="*/ 1874104 w 2953604"/>
              <a:gd name="connsiteY2" fmla="*/ 0 h 2411906"/>
              <a:gd name="connsiteX3" fmla="*/ 1874104 w 2953604"/>
              <a:gd name="connsiteY3" fmla="*/ 379413 h 2411906"/>
              <a:gd name="connsiteX4" fmla="*/ 2629754 w 2953604"/>
              <a:gd name="connsiteY4" fmla="*/ 379413 h 2411906"/>
              <a:gd name="connsiteX5" fmla="*/ 2629754 w 2953604"/>
              <a:gd name="connsiteY5" fmla="*/ 0 h 2411906"/>
              <a:gd name="connsiteX6" fmla="*/ 2953604 w 2953604"/>
              <a:gd name="connsiteY6" fmla="*/ 0 h 2411906"/>
              <a:gd name="connsiteX7" fmla="*/ 2953604 w 2953604"/>
              <a:gd name="connsiteY7" fmla="*/ 2411906 h 2411906"/>
              <a:gd name="connsiteX8" fmla="*/ 0 w 2953604"/>
              <a:gd name="connsiteY8" fmla="*/ 2411906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379413 h 2411906"/>
              <a:gd name="connsiteX4" fmla="*/ 2629754 w 2953604"/>
              <a:gd name="connsiteY4" fmla="*/ 0 h 2411906"/>
              <a:gd name="connsiteX5" fmla="*/ 2953604 w 2953604"/>
              <a:gd name="connsiteY5" fmla="*/ 0 h 2411906"/>
              <a:gd name="connsiteX6" fmla="*/ 2953604 w 2953604"/>
              <a:gd name="connsiteY6" fmla="*/ 2411906 h 2411906"/>
              <a:gd name="connsiteX7" fmla="*/ 0 w 2953604"/>
              <a:gd name="connsiteY7" fmla="*/ 2411906 h 2411906"/>
              <a:gd name="connsiteX8" fmla="*/ 782995 w 2953604"/>
              <a:gd name="connsiteY8" fmla="*/ 0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0 h 2411906"/>
              <a:gd name="connsiteX4" fmla="*/ 2953604 w 2953604"/>
              <a:gd name="connsiteY4" fmla="*/ 0 h 2411906"/>
              <a:gd name="connsiteX5" fmla="*/ 2953604 w 2953604"/>
              <a:gd name="connsiteY5" fmla="*/ 2411906 h 2411906"/>
              <a:gd name="connsiteX6" fmla="*/ 0 w 2953604"/>
              <a:gd name="connsiteY6" fmla="*/ 2411906 h 2411906"/>
              <a:gd name="connsiteX7" fmla="*/ 782995 w 2953604"/>
              <a:gd name="connsiteY7" fmla="*/ 0 h 2411906"/>
              <a:gd name="connsiteX0" fmla="*/ 782995 w 2953604"/>
              <a:gd name="connsiteY0" fmla="*/ 0 h 2411906"/>
              <a:gd name="connsiteX1" fmla="*/ 1619001 w 2953604"/>
              <a:gd name="connsiteY1" fmla="*/ 0 h 2411906"/>
              <a:gd name="connsiteX2" fmla="*/ 1874104 w 2953604"/>
              <a:gd name="connsiteY2" fmla="*/ 0 h 2411906"/>
              <a:gd name="connsiteX3" fmla="*/ 2953604 w 2953604"/>
              <a:gd name="connsiteY3" fmla="*/ 0 h 2411906"/>
              <a:gd name="connsiteX4" fmla="*/ 2953604 w 2953604"/>
              <a:gd name="connsiteY4" fmla="*/ 2411906 h 2411906"/>
              <a:gd name="connsiteX5" fmla="*/ 0 w 2953604"/>
              <a:gd name="connsiteY5" fmla="*/ 2411906 h 2411906"/>
              <a:gd name="connsiteX6" fmla="*/ 782995 w 2953604"/>
              <a:gd name="connsiteY6" fmla="*/ 0 h 2411906"/>
              <a:gd name="connsiteX0" fmla="*/ 782995 w 2953604"/>
              <a:gd name="connsiteY0" fmla="*/ 0 h 2411906"/>
              <a:gd name="connsiteX1" fmla="*/ 1619001 w 2953604"/>
              <a:gd name="connsiteY1" fmla="*/ 0 h 2411906"/>
              <a:gd name="connsiteX2" fmla="*/ 2953604 w 2953604"/>
              <a:gd name="connsiteY2" fmla="*/ 0 h 2411906"/>
              <a:gd name="connsiteX3" fmla="*/ 2953604 w 2953604"/>
              <a:gd name="connsiteY3" fmla="*/ 2411906 h 2411906"/>
              <a:gd name="connsiteX4" fmla="*/ 0 w 2953604"/>
              <a:gd name="connsiteY4" fmla="*/ 2411906 h 2411906"/>
              <a:gd name="connsiteX5" fmla="*/ 782995 w 2953604"/>
              <a:gd name="connsiteY5" fmla="*/ 0 h 2411906"/>
              <a:gd name="connsiteX0" fmla="*/ 782995 w 2953604"/>
              <a:gd name="connsiteY0" fmla="*/ 0 h 2411906"/>
              <a:gd name="connsiteX1" fmla="*/ 2953604 w 2953604"/>
              <a:gd name="connsiteY1" fmla="*/ 0 h 2411906"/>
              <a:gd name="connsiteX2" fmla="*/ 2953604 w 2953604"/>
              <a:gd name="connsiteY2" fmla="*/ 2411906 h 2411906"/>
              <a:gd name="connsiteX3" fmla="*/ 0 w 2953604"/>
              <a:gd name="connsiteY3" fmla="*/ 2411906 h 2411906"/>
              <a:gd name="connsiteX4" fmla="*/ 782995 w 2953604"/>
              <a:gd name="connsiteY4" fmla="*/ 0 h 241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3604" h="2411906">
                <a:moveTo>
                  <a:pt x="782995" y="0"/>
                </a:moveTo>
                <a:lnTo>
                  <a:pt x="2953604" y="0"/>
                </a:lnTo>
                <a:lnTo>
                  <a:pt x="2953604" y="2411906"/>
                </a:lnTo>
                <a:lnTo>
                  <a:pt x="0" y="2411906"/>
                </a:lnTo>
                <a:lnTo>
                  <a:pt x="782995" y="0"/>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Tree>
    <p:extLst>
      <p:ext uri="{BB962C8B-B14F-4D97-AF65-F5344CB8AC3E}">
        <p14:creationId xmlns:p14="http://schemas.microsoft.com/office/powerpoint/2010/main" val="182446136"/>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3690598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16" name="Picture Placeholder 99">
            <a:extLst>
              <a:ext uri="{FF2B5EF4-FFF2-40B4-BE49-F238E27FC236}">
                <a16:creationId xmlns:a16="http://schemas.microsoft.com/office/drawing/2014/main" id="{118A63F5-2A62-4E76-B52B-47025DED29A1}"/>
              </a:ext>
            </a:extLst>
          </p:cNvPr>
          <p:cNvSpPr>
            <a:spLocks noGrp="1"/>
          </p:cNvSpPr>
          <p:nvPr>
            <p:ph type="pic" sz="quarter" idx="20"/>
          </p:nvPr>
        </p:nvSpPr>
        <p:spPr>
          <a:xfrm>
            <a:off x="0" y="1344877"/>
            <a:ext cx="2888947" cy="2124600"/>
          </a:xfrm>
          <a:custGeom>
            <a:avLst/>
            <a:gdLst>
              <a:gd name="connsiteX0" fmla="*/ 0 w 3144838"/>
              <a:gd name="connsiteY0" fmla="*/ 0 h 2411905"/>
              <a:gd name="connsiteX1" fmla="*/ 3144838 w 3144838"/>
              <a:gd name="connsiteY1" fmla="*/ 0 h 2411905"/>
              <a:gd name="connsiteX2" fmla="*/ 3144838 w 3144838"/>
              <a:gd name="connsiteY2" fmla="*/ 10296 h 2411905"/>
              <a:gd name="connsiteX3" fmla="*/ 2366923 w 3144838"/>
              <a:gd name="connsiteY3" fmla="*/ 2411905 h 2411905"/>
              <a:gd name="connsiteX4" fmla="*/ 0 w 3144838"/>
              <a:gd name="connsiteY4" fmla="*/ 2411905 h 241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4838" h="2411905">
                <a:moveTo>
                  <a:pt x="0" y="0"/>
                </a:moveTo>
                <a:lnTo>
                  <a:pt x="3144838" y="0"/>
                </a:lnTo>
                <a:lnTo>
                  <a:pt x="3144838" y="10296"/>
                </a:lnTo>
                <a:lnTo>
                  <a:pt x="2366923"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7" name="Picture Placeholder 101">
            <a:extLst>
              <a:ext uri="{FF2B5EF4-FFF2-40B4-BE49-F238E27FC236}">
                <a16:creationId xmlns:a16="http://schemas.microsoft.com/office/drawing/2014/main" id="{8BC7BE2F-1AF6-4F33-88A8-33EE7EF30958}"/>
              </a:ext>
            </a:extLst>
          </p:cNvPr>
          <p:cNvSpPr>
            <a:spLocks noGrp="1"/>
          </p:cNvSpPr>
          <p:nvPr>
            <p:ph type="pic" sz="quarter" idx="21"/>
          </p:nvPr>
        </p:nvSpPr>
        <p:spPr>
          <a:xfrm>
            <a:off x="2227357" y="1344876"/>
            <a:ext cx="2756261" cy="2124599"/>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8" name="Picture Placeholder 103">
            <a:extLst>
              <a:ext uri="{FF2B5EF4-FFF2-40B4-BE49-F238E27FC236}">
                <a16:creationId xmlns:a16="http://schemas.microsoft.com/office/drawing/2014/main" id="{81258B60-B92A-4B1C-AF84-46CCF8C5E764}"/>
              </a:ext>
            </a:extLst>
          </p:cNvPr>
          <p:cNvSpPr>
            <a:spLocks noGrp="1"/>
          </p:cNvSpPr>
          <p:nvPr>
            <p:ph type="pic" sz="quarter" idx="22"/>
          </p:nvPr>
        </p:nvSpPr>
        <p:spPr>
          <a:xfrm>
            <a:off x="4322028" y="1344876"/>
            <a:ext cx="2756261" cy="2124599"/>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9" name="Picture Placeholder 105">
            <a:extLst>
              <a:ext uri="{FF2B5EF4-FFF2-40B4-BE49-F238E27FC236}">
                <a16:creationId xmlns:a16="http://schemas.microsoft.com/office/drawing/2014/main" id="{147418D2-B05C-4AA4-A542-583D4EA3B7A9}"/>
              </a:ext>
            </a:extLst>
          </p:cNvPr>
          <p:cNvSpPr>
            <a:spLocks noGrp="1"/>
          </p:cNvSpPr>
          <p:nvPr>
            <p:ph type="pic" sz="quarter" idx="23"/>
          </p:nvPr>
        </p:nvSpPr>
        <p:spPr>
          <a:xfrm>
            <a:off x="6416700" y="1344877"/>
            <a:ext cx="2713274" cy="2124601"/>
          </a:xfrm>
          <a:custGeom>
            <a:avLst/>
            <a:gdLst>
              <a:gd name="connsiteX0" fmla="*/ 782995 w 2953604"/>
              <a:gd name="connsiteY0" fmla="*/ 0 h 2411906"/>
              <a:gd name="connsiteX1" fmla="*/ 1619001 w 2953604"/>
              <a:gd name="connsiteY1" fmla="*/ 0 h 2411906"/>
              <a:gd name="connsiteX2" fmla="*/ 1874104 w 2953604"/>
              <a:gd name="connsiteY2" fmla="*/ 0 h 2411906"/>
              <a:gd name="connsiteX3" fmla="*/ 1874104 w 2953604"/>
              <a:gd name="connsiteY3" fmla="*/ 379413 h 2411906"/>
              <a:gd name="connsiteX4" fmla="*/ 2629754 w 2953604"/>
              <a:gd name="connsiteY4" fmla="*/ 379413 h 2411906"/>
              <a:gd name="connsiteX5" fmla="*/ 2629754 w 2953604"/>
              <a:gd name="connsiteY5" fmla="*/ 0 h 2411906"/>
              <a:gd name="connsiteX6" fmla="*/ 2953604 w 2953604"/>
              <a:gd name="connsiteY6" fmla="*/ 0 h 2411906"/>
              <a:gd name="connsiteX7" fmla="*/ 2953604 w 2953604"/>
              <a:gd name="connsiteY7" fmla="*/ 2411906 h 2411906"/>
              <a:gd name="connsiteX8" fmla="*/ 0 w 2953604"/>
              <a:gd name="connsiteY8" fmla="*/ 2411906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379413 h 2411906"/>
              <a:gd name="connsiteX4" fmla="*/ 2629754 w 2953604"/>
              <a:gd name="connsiteY4" fmla="*/ 0 h 2411906"/>
              <a:gd name="connsiteX5" fmla="*/ 2953604 w 2953604"/>
              <a:gd name="connsiteY5" fmla="*/ 0 h 2411906"/>
              <a:gd name="connsiteX6" fmla="*/ 2953604 w 2953604"/>
              <a:gd name="connsiteY6" fmla="*/ 2411906 h 2411906"/>
              <a:gd name="connsiteX7" fmla="*/ 0 w 2953604"/>
              <a:gd name="connsiteY7" fmla="*/ 2411906 h 2411906"/>
              <a:gd name="connsiteX8" fmla="*/ 782995 w 2953604"/>
              <a:gd name="connsiteY8" fmla="*/ 0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0 h 2411906"/>
              <a:gd name="connsiteX4" fmla="*/ 2953604 w 2953604"/>
              <a:gd name="connsiteY4" fmla="*/ 0 h 2411906"/>
              <a:gd name="connsiteX5" fmla="*/ 2953604 w 2953604"/>
              <a:gd name="connsiteY5" fmla="*/ 2411906 h 2411906"/>
              <a:gd name="connsiteX6" fmla="*/ 0 w 2953604"/>
              <a:gd name="connsiteY6" fmla="*/ 2411906 h 2411906"/>
              <a:gd name="connsiteX7" fmla="*/ 782995 w 2953604"/>
              <a:gd name="connsiteY7" fmla="*/ 0 h 2411906"/>
              <a:gd name="connsiteX0" fmla="*/ 782995 w 2953604"/>
              <a:gd name="connsiteY0" fmla="*/ 0 h 2411906"/>
              <a:gd name="connsiteX1" fmla="*/ 1619001 w 2953604"/>
              <a:gd name="connsiteY1" fmla="*/ 0 h 2411906"/>
              <a:gd name="connsiteX2" fmla="*/ 1874104 w 2953604"/>
              <a:gd name="connsiteY2" fmla="*/ 0 h 2411906"/>
              <a:gd name="connsiteX3" fmla="*/ 2953604 w 2953604"/>
              <a:gd name="connsiteY3" fmla="*/ 0 h 2411906"/>
              <a:gd name="connsiteX4" fmla="*/ 2953604 w 2953604"/>
              <a:gd name="connsiteY4" fmla="*/ 2411906 h 2411906"/>
              <a:gd name="connsiteX5" fmla="*/ 0 w 2953604"/>
              <a:gd name="connsiteY5" fmla="*/ 2411906 h 2411906"/>
              <a:gd name="connsiteX6" fmla="*/ 782995 w 2953604"/>
              <a:gd name="connsiteY6" fmla="*/ 0 h 2411906"/>
              <a:gd name="connsiteX0" fmla="*/ 782995 w 2953604"/>
              <a:gd name="connsiteY0" fmla="*/ 0 h 2411906"/>
              <a:gd name="connsiteX1" fmla="*/ 1619001 w 2953604"/>
              <a:gd name="connsiteY1" fmla="*/ 0 h 2411906"/>
              <a:gd name="connsiteX2" fmla="*/ 2953604 w 2953604"/>
              <a:gd name="connsiteY2" fmla="*/ 0 h 2411906"/>
              <a:gd name="connsiteX3" fmla="*/ 2953604 w 2953604"/>
              <a:gd name="connsiteY3" fmla="*/ 2411906 h 2411906"/>
              <a:gd name="connsiteX4" fmla="*/ 0 w 2953604"/>
              <a:gd name="connsiteY4" fmla="*/ 2411906 h 2411906"/>
              <a:gd name="connsiteX5" fmla="*/ 782995 w 2953604"/>
              <a:gd name="connsiteY5" fmla="*/ 0 h 2411906"/>
              <a:gd name="connsiteX0" fmla="*/ 782995 w 2953604"/>
              <a:gd name="connsiteY0" fmla="*/ 0 h 2411906"/>
              <a:gd name="connsiteX1" fmla="*/ 2953604 w 2953604"/>
              <a:gd name="connsiteY1" fmla="*/ 0 h 2411906"/>
              <a:gd name="connsiteX2" fmla="*/ 2953604 w 2953604"/>
              <a:gd name="connsiteY2" fmla="*/ 2411906 h 2411906"/>
              <a:gd name="connsiteX3" fmla="*/ 0 w 2953604"/>
              <a:gd name="connsiteY3" fmla="*/ 2411906 h 2411906"/>
              <a:gd name="connsiteX4" fmla="*/ 782995 w 2953604"/>
              <a:gd name="connsiteY4" fmla="*/ 0 h 241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3604" h="2411906">
                <a:moveTo>
                  <a:pt x="782995" y="0"/>
                </a:moveTo>
                <a:lnTo>
                  <a:pt x="2953604" y="0"/>
                </a:lnTo>
                <a:lnTo>
                  <a:pt x="2953604" y="2411906"/>
                </a:lnTo>
                <a:lnTo>
                  <a:pt x="0" y="2411906"/>
                </a:lnTo>
                <a:lnTo>
                  <a:pt x="782995" y="0"/>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Tree>
    <p:extLst>
      <p:ext uri="{BB962C8B-B14F-4D97-AF65-F5344CB8AC3E}">
        <p14:creationId xmlns:p14="http://schemas.microsoft.com/office/powerpoint/2010/main" val="3717410734"/>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1717036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23" name="Picture Placeholder 99">
            <a:extLst>
              <a:ext uri="{FF2B5EF4-FFF2-40B4-BE49-F238E27FC236}">
                <a16:creationId xmlns:a16="http://schemas.microsoft.com/office/drawing/2014/main" id="{C2CC1EE0-39D0-4E9E-B554-9C8F34F0FDB2}"/>
              </a:ext>
            </a:extLst>
          </p:cNvPr>
          <p:cNvSpPr>
            <a:spLocks noGrp="1"/>
          </p:cNvSpPr>
          <p:nvPr>
            <p:ph type="pic" sz="quarter" idx="20"/>
          </p:nvPr>
        </p:nvSpPr>
        <p:spPr>
          <a:xfrm>
            <a:off x="0" y="1341480"/>
            <a:ext cx="2351627" cy="1729442"/>
          </a:xfrm>
          <a:custGeom>
            <a:avLst/>
            <a:gdLst>
              <a:gd name="connsiteX0" fmla="*/ 0 w 3144838"/>
              <a:gd name="connsiteY0" fmla="*/ 0 h 2411905"/>
              <a:gd name="connsiteX1" fmla="*/ 3144838 w 3144838"/>
              <a:gd name="connsiteY1" fmla="*/ 0 h 2411905"/>
              <a:gd name="connsiteX2" fmla="*/ 3144838 w 3144838"/>
              <a:gd name="connsiteY2" fmla="*/ 10296 h 2411905"/>
              <a:gd name="connsiteX3" fmla="*/ 2366923 w 3144838"/>
              <a:gd name="connsiteY3" fmla="*/ 2411905 h 2411905"/>
              <a:gd name="connsiteX4" fmla="*/ 0 w 3144838"/>
              <a:gd name="connsiteY4" fmla="*/ 2411905 h 241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4838" h="2411905">
                <a:moveTo>
                  <a:pt x="0" y="0"/>
                </a:moveTo>
                <a:lnTo>
                  <a:pt x="3144838" y="0"/>
                </a:lnTo>
                <a:lnTo>
                  <a:pt x="3144838" y="10296"/>
                </a:lnTo>
                <a:lnTo>
                  <a:pt x="2366923" y="2411905"/>
                </a:lnTo>
                <a:lnTo>
                  <a:pt x="0" y="2411905"/>
                </a:lnTo>
                <a:close/>
              </a:path>
            </a:pathLst>
          </a:custGeom>
          <a:solidFill>
            <a:schemeClr val="bg2"/>
          </a:solidFill>
        </p:spPr>
        <p:txBody>
          <a:bodyPr wrap="square">
            <a:noAutofit/>
          </a:bodyPr>
          <a:lstStyle/>
          <a:p>
            <a:endParaRPr lang="en-GB"/>
          </a:p>
        </p:txBody>
      </p:sp>
      <p:sp>
        <p:nvSpPr>
          <p:cNvPr id="24" name="Picture Placeholder 101">
            <a:extLst>
              <a:ext uri="{FF2B5EF4-FFF2-40B4-BE49-F238E27FC236}">
                <a16:creationId xmlns:a16="http://schemas.microsoft.com/office/drawing/2014/main" id="{2E5073FE-5A70-4399-8736-234ABA2A2ED1}"/>
              </a:ext>
            </a:extLst>
          </p:cNvPr>
          <p:cNvSpPr>
            <a:spLocks noGrp="1"/>
          </p:cNvSpPr>
          <p:nvPr>
            <p:ph type="pic" sz="quarter" idx="21"/>
          </p:nvPr>
        </p:nvSpPr>
        <p:spPr>
          <a:xfrm>
            <a:off x="3519483" y="1341480"/>
            <a:ext cx="2243620" cy="1729442"/>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wrap="square">
            <a:noAutofit/>
          </a:bodyPr>
          <a:lstStyle/>
          <a:p>
            <a:endParaRPr lang="en-GB"/>
          </a:p>
        </p:txBody>
      </p:sp>
      <p:sp>
        <p:nvSpPr>
          <p:cNvPr id="26" name="Picture Placeholder 103">
            <a:extLst>
              <a:ext uri="{FF2B5EF4-FFF2-40B4-BE49-F238E27FC236}">
                <a16:creationId xmlns:a16="http://schemas.microsoft.com/office/drawing/2014/main" id="{D623FDBB-1943-45CF-8D45-EDF9EBF0D666}"/>
              </a:ext>
            </a:extLst>
          </p:cNvPr>
          <p:cNvSpPr>
            <a:spLocks noGrp="1"/>
          </p:cNvSpPr>
          <p:nvPr>
            <p:ph type="pic" sz="quarter" idx="22"/>
          </p:nvPr>
        </p:nvSpPr>
        <p:spPr>
          <a:xfrm>
            <a:off x="5225221" y="1341480"/>
            <a:ext cx="2243620" cy="1729442"/>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wrap="square">
            <a:noAutofit/>
          </a:bodyPr>
          <a:lstStyle/>
          <a:p>
            <a:endParaRPr lang="en-GB"/>
          </a:p>
        </p:txBody>
      </p:sp>
      <p:sp>
        <p:nvSpPr>
          <p:cNvPr id="31" name="Picture Placeholder 105">
            <a:extLst>
              <a:ext uri="{FF2B5EF4-FFF2-40B4-BE49-F238E27FC236}">
                <a16:creationId xmlns:a16="http://schemas.microsoft.com/office/drawing/2014/main" id="{037CDD7F-74E4-43E6-BCDB-500CE3F16A3D}"/>
              </a:ext>
            </a:extLst>
          </p:cNvPr>
          <p:cNvSpPr>
            <a:spLocks noGrp="1"/>
          </p:cNvSpPr>
          <p:nvPr>
            <p:ph type="pic" sz="quarter" idx="23"/>
          </p:nvPr>
        </p:nvSpPr>
        <p:spPr>
          <a:xfrm>
            <a:off x="6930959" y="1341477"/>
            <a:ext cx="2208628" cy="1729443"/>
          </a:xfrm>
          <a:custGeom>
            <a:avLst/>
            <a:gdLst>
              <a:gd name="connsiteX0" fmla="*/ 782995 w 2953604"/>
              <a:gd name="connsiteY0" fmla="*/ 0 h 2411906"/>
              <a:gd name="connsiteX1" fmla="*/ 1619001 w 2953604"/>
              <a:gd name="connsiteY1" fmla="*/ 0 h 2411906"/>
              <a:gd name="connsiteX2" fmla="*/ 1874104 w 2953604"/>
              <a:gd name="connsiteY2" fmla="*/ 0 h 2411906"/>
              <a:gd name="connsiteX3" fmla="*/ 1874104 w 2953604"/>
              <a:gd name="connsiteY3" fmla="*/ 379413 h 2411906"/>
              <a:gd name="connsiteX4" fmla="*/ 2629754 w 2953604"/>
              <a:gd name="connsiteY4" fmla="*/ 379413 h 2411906"/>
              <a:gd name="connsiteX5" fmla="*/ 2629754 w 2953604"/>
              <a:gd name="connsiteY5" fmla="*/ 0 h 2411906"/>
              <a:gd name="connsiteX6" fmla="*/ 2953604 w 2953604"/>
              <a:gd name="connsiteY6" fmla="*/ 0 h 2411906"/>
              <a:gd name="connsiteX7" fmla="*/ 2953604 w 2953604"/>
              <a:gd name="connsiteY7" fmla="*/ 2411906 h 2411906"/>
              <a:gd name="connsiteX8" fmla="*/ 0 w 2953604"/>
              <a:gd name="connsiteY8" fmla="*/ 2411906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379413 h 2411906"/>
              <a:gd name="connsiteX4" fmla="*/ 2629754 w 2953604"/>
              <a:gd name="connsiteY4" fmla="*/ 0 h 2411906"/>
              <a:gd name="connsiteX5" fmla="*/ 2953604 w 2953604"/>
              <a:gd name="connsiteY5" fmla="*/ 0 h 2411906"/>
              <a:gd name="connsiteX6" fmla="*/ 2953604 w 2953604"/>
              <a:gd name="connsiteY6" fmla="*/ 2411906 h 2411906"/>
              <a:gd name="connsiteX7" fmla="*/ 0 w 2953604"/>
              <a:gd name="connsiteY7" fmla="*/ 2411906 h 2411906"/>
              <a:gd name="connsiteX8" fmla="*/ 782995 w 2953604"/>
              <a:gd name="connsiteY8" fmla="*/ 0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0 h 2411906"/>
              <a:gd name="connsiteX4" fmla="*/ 2953604 w 2953604"/>
              <a:gd name="connsiteY4" fmla="*/ 0 h 2411906"/>
              <a:gd name="connsiteX5" fmla="*/ 2953604 w 2953604"/>
              <a:gd name="connsiteY5" fmla="*/ 2411906 h 2411906"/>
              <a:gd name="connsiteX6" fmla="*/ 0 w 2953604"/>
              <a:gd name="connsiteY6" fmla="*/ 2411906 h 2411906"/>
              <a:gd name="connsiteX7" fmla="*/ 782995 w 2953604"/>
              <a:gd name="connsiteY7" fmla="*/ 0 h 2411906"/>
              <a:gd name="connsiteX0" fmla="*/ 782995 w 2953604"/>
              <a:gd name="connsiteY0" fmla="*/ 0 h 2411906"/>
              <a:gd name="connsiteX1" fmla="*/ 1619001 w 2953604"/>
              <a:gd name="connsiteY1" fmla="*/ 0 h 2411906"/>
              <a:gd name="connsiteX2" fmla="*/ 1874104 w 2953604"/>
              <a:gd name="connsiteY2" fmla="*/ 0 h 2411906"/>
              <a:gd name="connsiteX3" fmla="*/ 2953604 w 2953604"/>
              <a:gd name="connsiteY3" fmla="*/ 0 h 2411906"/>
              <a:gd name="connsiteX4" fmla="*/ 2953604 w 2953604"/>
              <a:gd name="connsiteY4" fmla="*/ 2411906 h 2411906"/>
              <a:gd name="connsiteX5" fmla="*/ 0 w 2953604"/>
              <a:gd name="connsiteY5" fmla="*/ 2411906 h 2411906"/>
              <a:gd name="connsiteX6" fmla="*/ 782995 w 2953604"/>
              <a:gd name="connsiteY6" fmla="*/ 0 h 2411906"/>
              <a:gd name="connsiteX0" fmla="*/ 782995 w 2953604"/>
              <a:gd name="connsiteY0" fmla="*/ 0 h 2411906"/>
              <a:gd name="connsiteX1" fmla="*/ 1619001 w 2953604"/>
              <a:gd name="connsiteY1" fmla="*/ 0 h 2411906"/>
              <a:gd name="connsiteX2" fmla="*/ 2953604 w 2953604"/>
              <a:gd name="connsiteY2" fmla="*/ 0 h 2411906"/>
              <a:gd name="connsiteX3" fmla="*/ 2953604 w 2953604"/>
              <a:gd name="connsiteY3" fmla="*/ 2411906 h 2411906"/>
              <a:gd name="connsiteX4" fmla="*/ 0 w 2953604"/>
              <a:gd name="connsiteY4" fmla="*/ 2411906 h 2411906"/>
              <a:gd name="connsiteX5" fmla="*/ 782995 w 2953604"/>
              <a:gd name="connsiteY5" fmla="*/ 0 h 2411906"/>
              <a:gd name="connsiteX0" fmla="*/ 782995 w 2953604"/>
              <a:gd name="connsiteY0" fmla="*/ 0 h 2411906"/>
              <a:gd name="connsiteX1" fmla="*/ 2953604 w 2953604"/>
              <a:gd name="connsiteY1" fmla="*/ 0 h 2411906"/>
              <a:gd name="connsiteX2" fmla="*/ 2953604 w 2953604"/>
              <a:gd name="connsiteY2" fmla="*/ 2411906 h 2411906"/>
              <a:gd name="connsiteX3" fmla="*/ 0 w 2953604"/>
              <a:gd name="connsiteY3" fmla="*/ 2411906 h 2411906"/>
              <a:gd name="connsiteX4" fmla="*/ 782995 w 2953604"/>
              <a:gd name="connsiteY4" fmla="*/ 0 h 241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3604" h="2411906">
                <a:moveTo>
                  <a:pt x="782995" y="0"/>
                </a:moveTo>
                <a:lnTo>
                  <a:pt x="2953604" y="0"/>
                </a:lnTo>
                <a:lnTo>
                  <a:pt x="2953604" y="2411906"/>
                </a:lnTo>
                <a:lnTo>
                  <a:pt x="0" y="2411906"/>
                </a:lnTo>
                <a:lnTo>
                  <a:pt x="782995" y="0"/>
                </a:lnTo>
                <a:close/>
              </a:path>
            </a:pathLst>
          </a:custGeom>
          <a:solidFill>
            <a:schemeClr val="bg2"/>
          </a:solidFill>
        </p:spPr>
        <p:txBody>
          <a:bodyPr wrap="square">
            <a:noAutofit/>
          </a:bodyPr>
          <a:lstStyle/>
          <a:p>
            <a:endParaRPr lang="en-GB" dirty="0"/>
          </a:p>
        </p:txBody>
      </p:sp>
      <p:sp>
        <p:nvSpPr>
          <p:cNvPr id="32" name="Picture Placeholder 101">
            <a:extLst>
              <a:ext uri="{FF2B5EF4-FFF2-40B4-BE49-F238E27FC236}">
                <a16:creationId xmlns:a16="http://schemas.microsoft.com/office/drawing/2014/main" id="{F46BC293-EC72-4458-98AA-7535955F8C0A}"/>
              </a:ext>
            </a:extLst>
          </p:cNvPr>
          <p:cNvSpPr>
            <a:spLocks noGrp="1"/>
          </p:cNvSpPr>
          <p:nvPr>
            <p:ph type="pic" sz="quarter" idx="24"/>
          </p:nvPr>
        </p:nvSpPr>
        <p:spPr>
          <a:xfrm>
            <a:off x="1813745" y="1341480"/>
            <a:ext cx="2243620" cy="1729442"/>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wrap="square">
            <a:noAutofit/>
          </a:bodyPr>
          <a:lstStyle/>
          <a:p>
            <a:endParaRPr lang="en-GB"/>
          </a:p>
        </p:txBody>
      </p:sp>
    </p:spTree>
    <p:extLst>
      <p:ext uri="{BB962C8B-B14F-4D97-AF65-F5344CB8AC3E}">
        <p14:creationId xmlns:p14="http://schemas.microsoft.com/office/powerpoint/2010/main" val="2792123387"/>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946489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16" name="Picture Placeholder 47">
            <a:extLst>
              <a:ext uri="{FF2B5EF4-FFF2-40B4-BE49-F238E27FC236}">
                <a16:creationId xmlns:a16="http://schemas.microsoft.com/office/drawing/2014/main" id="{B7C069BB-8C40-4EB3-AF6F-A6CBE866F082}"/>
              </a:ext>
            </a:extLst>
          </p:cNvPr>
          <p:cNvSpPr>
            <a:spLocks noGrp="1"/>
          </p:cNvSpPr>
          <p:nvPr>
            <p:ph type="pic" sz="quarter" idx="23"/>
          </p:nvPr>
        </p:nvSpPr>
        <p:spPr>
          <a:xfrm>
            <a:off x="6337255" y="1343177"/>
            <a:ext cx="2789874" cy="1438814"/>
          </a:xfrm>
          <a:custGeom>
            <a:avLst/>
            <a:gdLst>
              <a:gd name="connsiteX0" fmla="*/ 731304 w 2725604"/>
              <a:gd name="connsiteY0" fmla="*/ 0 h 1405668"/>
              <a:gd name="connsiteX1" fmla="*/ 2725604 w 2725604"/>
              <a:gd name="connsiteY1" fmla="*/ 0 h 1405668"/>
              <a:gd name="connsiteX2" fmla="*/ 2725604 w 2725604"/>
              <a:gd name="connsiteY2" fmla="*/ 1405668 h 1405668"/>
              <a:gd name="connsiteX3" fmla="*/ 0 w 2725604"/>
              <a:gd name="connsiteY3" fmla="*/ 1405668 h 1405668"/>
              <a:gd name="connsiteX4" fmla="*/ 2 w 2725604"/>
              <a:gd name="connsiteY4" fmla="*/ 1405665 h 1405668"/>
              <a:gd name="connsiteX5" fmla="*/ 256593 w 2725604"/>
              <a:gd name="connsiteY5" fmla="*/ 1405665 h 140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5604" h="1405668">
                <a:moveTo>
                  <a:pt x="731304" y="0"/>
                </a:moveTo>
                <a:lnTo>
                  <a:pt x="2725604" y="0"/>
                </a:lnTo>
                <a:lnTo>
                  <a:pt x="2725604" y="1405668"/>
                </a:lnTo>
                <a:lnTo>
                  <a:pt x="0" y="1405668"/>
                </a:lnTo>
                <a:lnTo>
                  <a:pt x="2" y="1405665"/>
                </a:lnTo>
                <a:lnTo>
                  <a:pt x="256593" y="1405665"/>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17" name="Picture Placeholder 48">
            <a:extLst>
              <a:ext uri="{FF2B5EF4-FFF2-40B4-BE49-F238E27FC236}">
                <a16:creationId xmlns:a16="http://schemas.microsoft.com/office/drawing/2014/main" id="{17CD2B6D-A8EF-496A-9D70-6A237EED1180}"/>
              </a:ext>
            </a:extLst>
          </p:cNvPr>
          <p:cNvSpPr>
            <a:spLocks noGrp="1"/>
          </p:cNvSpPr>
          <p:nvPr>
            <p:ph type="pic" sz="quarter" idx="25"/>
          </p:nvPr>
        </p:nvSpPr>
        <p:spPr>
          <a:xfrm>
            <a:off x="4429928" y="1343175"/>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18" name="Picture Placeholder 52">
            <a:extLst>
              <a:ext uri="{FF2B5EF4-FFF2-40B4-BE49-F238E27FC236}">
                <a16:creationId xmlns:a16="http://schemas.microsoft.com/office/drawing/2014/main" id="{96F2EC9E-D21C-4296-92E6-3E298E262ABD}"/>
              </a:ext>
            </a:extLst>
          </p:cNvPr>
          <p:cNvSpPr>
            <a:spLocks noGrp="1"/>
          </p:cNvSpPr>
          <p:nvPr>
            <p:ph type="pic" sz="quarter" idx="20"/>
          </p:nvPr>
        </p:nvSpPr>
        <p:spPr>
          <a:xfrm>
            <a:off x="-5199" y="1343176"/>
            <a:ext cx="2711415" cy="1439260"/>
          </a:xfrm>
          <a:custGeom>
            <a:avLst/>
            <a:gdLst>
              <a:gd name="connsiteX0" fmla="*/ 0 w 2648953"/>
              <a:gd name="connsiteY0" fmla="*/ 0 h 1406104"/>
              <a:gd name="connsiteX1" fmla="*/ 2648953 w 2648953"/>
              <a:gd name="connsiteY1" fmla="*/ 0 h 1406104"/>
              <a:gd name="connsiteX2" fmla="*/ 2174228 w 2648953"/>
              <a:gd name="connsiteY2" fmla="*/ 1405666 h 1406104"/>
              <a:gd name="connsiteX3" fmla="*/ 2281781 w 2648953"/>
              <a:gd name="connsiteY3" fmla="*/ 1405666 h 1406104"/>
              <a:gd name="connsiteX4" fmla="*/ 2281632 w 2648953"/>
              <a:gd name="connsiteY4" fmla="*/ 1406104 h 1406104"/>
              <a:gd name="connsiteX5" fmla="*/ 0 w 2648953"/>
              <a:gd name="connsiteY5" fmla="*/ 1405669 h 140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8953" h="1406104">
                <a:moveTo>
                  <a:pt x="0" y="0"/>
                </a:moveTo>
                <a:lnTo>
                  <a:pt x="2648953" y="0"/>
                </a:lnTo>
                <a:lnTo>
                  <a:pt x="2174228" y="1405666"/>
                </a:lnTo>
                <a:lnTo>
                  <a:pt x="2281781" y="1405666"/>
                </a:lnTo>
                <a:lnTo>
                  <a:pt x="2281632" y="1406104"/>
                </a:lnTo>
                <a:lnTo>
                  <a:pt x="0" y="1405669"/>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9" name="Picture Placeholder 53">
            <a:extLst>
              <a:ext uri="{FF2B5EF4-FFF2-40B4-BE49-F238E27FC236}">
                <a16:creationId xmlns:a16="http://schemas.microsoft.com/office/drawing/2014/main" id="{E2C9FA42-FC6C-4D87-B339-8218568265DE}"/>
              </a:ext>
            </a:extLst>
          </p:cNvPr>
          <p:cNvSpPr>
            <a:spLocks noGrp="1"/>
          </p:cNvSpPr>
          <p:nvPr>
            <p:ph type="pic" sz="quarter" idx="24"/>
          </p:nvPr>
        </p:nvSpPr>
        <p:spPr>
          <a:xfrm>
            <a:off x="2256936" y="1343175"/>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20" name="Picture Placeholder 54">
            <a:extLst>
              <a:ext uri="{FF2B5EF4-FFF2-40B4-BE49-F238E27FC236}">
                <a16:creationId xmlns:a16="http://schemas.microsoft.com/office/drawing/2014/main" id="{3A7EB6AE-31D8-4EB3-840D-51B58263AA2D}"/>
              </a:ext>
            </a:extLst>
          </p:cNvPr>
          <p:cNvSpPr>
            <a:spLocks noGrp="1"/>
          </p:cNvSpPr>
          <p:nvPr>
            <p:ph type="pic" sz="quarter" idx="26"/>
          </p:nvPr>
        </p:nvSpPr>
        <p:spPr>
          <a:xfrm>
            <a:off x="6337255" y="3226382"/>
            <a:ext cx="2789874" cy="1438814"/>
          </a:xfrm>
          <a:custGeom>
            <a:avLst/>
            <a:gdLst>
              <a:gd name="connsiteX0" fmla="*/ 731304 w 2725604"/>
              <a:gd name="connsiteY0" fmla="*/ 0 h 1405668"/>
              <a:gd name="connsiteX1" fmla="*/ 2725604 w 2725604"/>
              <a:gd name="connsiteY1" fmla="*/ 0 h 1405668"/>
              <a:gd name="connsiteX2" fmla="*/ 2725604 w 2725604"/>
              <a:gd name="connsiteY2" fmla="*/ 1405668 h 1405668"/>
              <a:gd name="connsiteX3" fmla="*/ 0 w 2725604"/>
              <a:gd name="connsiteY3" fmla="*/ 1405668 h 1405668"/>
              <a:gd name="connsiteX4" fmla="*/ 2 w 2725604"/>
              <a:gd name="connsiteY4" fmla="*/ 1405665 h 1405668"/>
              <a:gd name="connsiteX5" fmla="*/ 256593 w 2725604"/>
              <a:gd name="connsiteY5" fmla="*/ 1405665 h 140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5604" h="1405668">
                <a:moveTo>
                  <a:pt x="731304" y="0"/>
                </a:moveTo>
                <a:lnTo>
                  <a:pt x="2725604" y="0"/>
                </a:lnTo>
                <a:lnTo>
                  <a:pt x="2725604" y="1405668"/>
                </a:lnTo>
                <a:lnTo>
                  <a:pt x="0" y="1405668"/>
                </a:lnTo>
                <a:lnTo>
                  <a:pt x="2" y="1405665"/>
                </a:lnTo>
                <a:lnTo>
                  <a:pt x="256593" y="1405665"/>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21" name="Picture Placeholder 55">
            <a:extLst>
              <a:ext uri="{FF2B5EF4-FFF2-40B4-BE49-F238E27FC236}">
                <a16:creationId xmlns:a16="http://schemas.microsoft.com/office/drawing/2014/main" id="{FA6B3E14-87B2-4B7E-AB66-37FF46B73EEB}"/>
              </a:ext>
            </a:extLst>
          </p:cNvPr>
          <p:cNvSpPr>
            <a:spLocks noGrp="1"/>
          </p:cNvSpPr>
          <p:nvPr>
            <p:ph type="pic" sz="quarter" idx="27"/>
          </p:nvPr>
        </p:nvSpPr>
        <p:spPr>
          <a:xfrm>
            <a:off x="4429928" y="3226383"/>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27" name="Picture Placeholder 56">
            <a:extLst>
              <a:ext uri="{FF2B5EF4-FFF2-40B4-BE49-F238E27FC236}">
                <a16:creationId xmlns:a16="http://schemas.microsoft.com/office/drawing/2014/main" id="{0AF00E18-7DF2-4131-ACF2-C0835192F742}"/>
              </a:ext>
            </a:extLst>
          </p:cNvPr>
          <p:cNvSpPr>
            <a:spLocks noGrp="1"/>
          </p:cNvSpPr>
          <p:nvPr>
            <p:ph type="pic" sz="quarter" idx="28"/>
          </p:nvPr>
        </p:nvSpPr>
        <p:spPr>
          <a:xfrm>
            <a:off x="-5199" y="3226159"/>
            <a:ext cx="2711415" cy="1439260"/>
          </a:xfrm>
          <a:custGeom>
            <a:avLst/>
            <a:gdLst>
              <a:gd name="connsiteX0" fmla="*/ 0 w 2648953"/>
              <a:gd name="connsiteY0" fmla="*/ 0 h 1406104"/>
              <a:gd name="connsiteX1" fmla="*/ 2648953 w 2648953"/>
              <a:gd name="connsiteY1" fmla="*/ 0 h 1406104"/>
              <a:gd name="connsiteX2" fmla="*/ 2174228 w 2648953"/>
              <a:gd name="connsiteY2" fmla="*/ 1405666 h 1406104"/>
              <a:gd name="connsiteX3" fmla="*/ 2281781 w 2648953"/>
              <a:gd name="connsiteY3" fmla="*/ 1405666 h 1406104"/>
              <a:gd name="connsiteX4" fmla="*/ 2281632 w 2648953"/>
              <a:gd name="connsiteY4" fmla="*/ 1406104 h 1406104"/>
              <a:gd name="connsiteX5" fmla="*/ 0 w 2648953"/>
              <a:gd name="connsiteY5" fmla="*/ 1405669 h 140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8953" h="1406104">
                <a:moveTo>
                  <a:pt x="0" y="0"/>
                </a:moveTo>
                <a:lnTo>
                  <a:pt x="2648953" y="0"/>
                </a:lnTo>
                <a:lnTo>
                  <a:pt x="2174228" y="1405666"/>
                </a:lnTo>
                <a:lnTo>
                  <a:pt x="2281781" y="1405666"/>
                </a:lnTo>
                <a:lnTo>
                  <a:pt x="2281632" y="1406104"/>
                </a:lnTo>
                <a:lnTo>
                  <a:pt x="0" y="1405669"/>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29" name="Picture Placeholder 57">
            <a:extLst>
              <a:ext uri="{FF2B5EF4-FFF2-40B4-BE49-F238E27FC236}">
                <a16:creationId xmlns:a16="http://schemas.microsoft.com/office/drawing/2014/main" id="{7F3DA735-57C6-4590-8A67-6B4693D693E5}"/>
              </a:ext>
            </a:extLst>
          </p:cNvPr>
          <p:cNvSpPr>
            <a:spLocks noGrp="1"/>
          </p:cNvSpPr>
          <p:nvPr>
            <p:ph type="pic" sz="quarter" idx="29"/>
          </p:nvPr>
        </p:nvSpPr>
        <p:spPr>
          <a:xfrm>
            <a:off x="2256936" y="3226383"/>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Tree>
    <p:extLst>
      <p:ext uri="{BB962C8B-B14F-4D97-AF65-F5344CB8AC3E}">
        <p14:creationId xmlns:p14="http://schemas.microsoft.com/office/powerpoint/2010/main" val="4067837618"/>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full-page">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C67C0235-AEFE-43DF-8020-8D3F5DAF095C}"/>
              </a:ext>
            </a:extLst>
          </p:cNvPr>
          <p:cNvSpPr>
            <a:spLocks noGrp="1"/>
          </p:cNvSpPr>
          <p:nvPr>
            <p:ph type="pic" sz="quarter" idx="10" hasCustomPrompt="1"/>
          </p:nvPr>
        </p:nvSpPr>
        <p:spPr>
          <a:xfrm>
            <a:off x="0" y="0"/>
            <a:ext cx="9144000" cy="5143500"/>
          </a:xfrm>
          <a:custGeom>
            <a:avLst/>
            <a:gdLst>
              <a:gd name="connsiteX0" fmla="*/ 0 w 9144000"/>
              <a:gd name="connsiteY0" fmla="*/ 0 h 5143500"/>
              <a:gd name="connsiteX1" fmla="*/ 8062004 w 9144000"/>
              <a:gd name="connsiteY1" fmla="*/ 0 h 5143500"/>
              <a:gd name="connsiteX2" fmla="*/ 8062004 w 9144000"/>
              <a:gd name="connsiteY2" fmla="*/ 381600 h 5143500"/>
              <a:gd name="connsiteX3" fmla="*/ 8818004 w 9144000"/>
              <a:gd name="connsiteY3" fmla="*/ 381600 h 5143500"/>
              <a:gd name="connsiteX4" fmla="*/ 8818004 w 9144000"/>
              <a:gd name="connsiteY4" fmla="*/ 0 h 5143500"/>
              <a:gd name="connsiteX5" fmla="*/ 9144000 w 9144000"/>
              <a:gd name="connsiteY5" fmla="*/ 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8062004" y="0"/>
                </a:lnTo>
                <a:lnTo>
                  <a:pt x="8062004" y="381600"/>
                </a:lnTo>
                <a:lnTo>
                  <a:pt x="8818004" y="381600"/>
                </a:lnTo>
                <a:lnTo>
                  <a:pt x="8818004" y="0"/>
                </a:lnTo>
                <a:lnTo>
                  <a:pt x="9144000" y="0"/>
                </a:lnTo>
                <a:lnTo>
                  <a:pt x="9144000" y="5143500"/>
                </a:lnTo>
                <a:lnTo>
                  <a:pt x="0" y="5143500"/>
                </a:lnTo>
                <a:close/>
              </a:path>
            </a:pathLst>
          </a:custGeom>
        </p:spPr>
        <p:txBody>
          <a:bodyPr wrap="square" tIns="198000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icon to add picture</a:t>
            </a:r>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2" name="Fußzeilenplatzhalter 1">
            <a:extLst>
              <a:ext uri="{FF2B5EF4-FFF2-40B4-BE49-F238E27FC236}">
                <a16:creationId xmlns:a16="http://schemas.microsoft.com/office/drawing/2014/main" id="{F7DD0858-E20A-45CF-8B1E-274BC3BFF9CE}"/>
              </a:ext>
            </a:extLst>
          </p:cNvPr>
          <p:cNvSpPr>
            <a:spLocks noGrp="1"/>
          </p:cNvSpPr>
          <p:nvPr>
            <p:ph type="ftr" sz="quarter" idx="11"/>
          </p:nvPr>
        </p:nvSpPr>
        <p:spPr/>
        <p:txBody>
          <a:bodyPr/>
          <a:lstStyle>
            <a:lvl1pPr>
              <a:defRPr>
                <a:solidFill>
                  <a:schemeClr val="bg1"/>
                </a:solidFill>
              </a:defRPr>
            </a:lvl1pPr>
          </a:lstStyle>
          <a:p>
            <a:r>
              <a:rPr lang="en-GB"/>
              <a:t>#AllAboutSports</a:t>
            </a:r>
            <a:endParaRPr lang="en-GB" dirty="0"/>
          </a:p>
        </p:txBody>
      </p:sp>
    </p:spTree>
    <p:extLst>
      <p:ext uri="{BB962C8B-B14F-4D97-AF65-F5344CB8AC3E}">
        <p14:creationId xmlns:p14="http://schemas.microsoft.com/office/powerpoint/2010/main" val="23499981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full-page">
    <p:spTree>
      <p:nvGrpSpPr>
        <p:cNvPr id="1" name=""/>
        <p:cNvGrpSpPr/>
        <p:nvPr/>
      </p:nvGrpSpPr>
      <p:grpSpPr>
        <a:xfrm>
          <a:off x="0" y="0"/>
          <a:ext cx="0" cy="0"/>
          <a:chOff x="0" y="0"/>
          <a:chExt cx="0" cy="0"/>
        </a:xfrm>
      </p:grpSpPr>
      <p:sp>
        <p:nvSpPr>
          <p:cNvPr id="3" name="Medienplatzhalter 2">
            <a:extLst>
              <a:ext uri="{FF2B5EF4-FFF2-40B4-BE49-F238E27FC236}">
                <a16:creationId xmlns:a16="http://schemas.microsoft.com/office/drawing/2014/main" id="{D1EC13DE-15DC-41A0-8F39-D034663B2D08}"/>
              </a:ext>
            </a:extLst>
          </p:cNvPr>
          <p:cNvSpPr>
            <a:spLocks noGrp="1"/>
          </p:cNvSpPr>
          <p:nvPr>
            <p:ph type="media" sz="quarter" idx="13" hasCustomPrompt="1"/>
          </p:nvPr>
        </p:nvSpPr>
        <p:spPr>
          <a:xfrm>
            <a:off x="0" y="0"/>
            <a:ext cx="9144000" cy="5143500"/>
          </a:xfrm>
          <a:prstGeom prst="rect">
            <a:avLst/>
          </a:prstGeom>
        </p:spPr>
        <p:txBody>
          <a:bodyPr tIns="1980000"/>
          <a:lstStyle>
            <a:lvl1pPr algn="ctr">
              <a:defRPr/>
            </a:lvl1pPr>
          </a:lstStyle>
          <a:p>
            <a:r>
              <a:rPr lang="en-GB" dirty="0"/>
              <a:t>Click icon to add video</a:t>
            </a:r>
          </a:p>
        </p:txBody>
      </p:sp>
    </p:spTree>
    <p:extLst>
      <p:ext uri="{BB962C8B-B14F-4D97-AF65-F5344CB8AC3E}">
        <p14:creationId xmlns:p14="http://schemas.microsoft.com/office/powerpoint/2010/main" val="8191996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Graphic 12">
            <a:extLst>
              <a:ext uri="{FF2B5EF4-FFF2-40B4-BE49-F238E27FC236}">
                <a16:creationId xmlns:a16="http://schemas.microsoft.com/office/drawing/2014/main" id="{F1309502-5B7E-4F3F-995B-2666CEC6EBC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48311" y="1528222"/>
            <a:ext cx="5281588" cy="687937"/>
          </a:xfrm>
          <a:prstGeom prst="rect">
            <a:avLst/>
          </a:prstGeom>
        </p:spPr>
      </p:pic>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tx1"/>
              </a:solidFill>
              <a:latin typeface="Arial" panose="020B0604020202020204" pitchFamily="34" charset="0"/>
              <a:cs typeface="Arial" panose="020B0604020202020204" pitchFamily="34" charset="0"/>
            </a:endParaRPr>
          </a:p>
          <a:p>
            <a:pPr algn="l"/>
            <a:r>
              <a:rPr lang="en-US" sz="1000" b="1" i="0" baseline="0" dirty="0">
                <a:solidFill>
                  <a:schemeClr val="tx1"/>
                </a:solidFill>
                <a:latin typeface="Arial" panose="020B0604020202020204" pitchFamily="34" charset="0"/>
                <a:cs typeface="Arial" panose="020B0604020202020204" pitchFamily="34" charset="0"/>
              </a:rPr>
              <a:t>infront.sport</a:t>
            </a:r>
          </a:p>
          <a:p>
            <a:pPr algn="l"/>
            <a:r>
              <a:rPr lang="en-US" sz="1000" b="1" i="0" baseline="0" dirty="0">
                <a:solidFill>
                  <a:schemeClr val="tx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tx1"/>
                </a:solidFill>
                <a:latin typeface="Arial" panose="020B0604020202020204" pitchFamily="34" charset="0"/>
              </a:rPr>
              <a:t>Infront Sports &amp; Media AG
</a:t>
            </a:r>
            <a:r>
              <a:rPr lang="en-US" sz="1000" b="0" i="0" baseline="0" dirty="0">
                <a:solidFill>
                  <a:schemeClr val="tx1"/>
                </a:solidFill>
                <a:latin typeface="Arial" panose="020B0604020202020204" pitchFamily="34" charset="0"/>
                <a:cs typeface="Arial" panose="020B0604020202020204" pitchFamily="34" charset="0"/>
              </a:rPr>
              <a:t>Grafenauweg 2 </a:t>
            </a:r>
            <a:r>
              <a:rPr lang="en-US" sz="600" b="0" i="0" baseline="0" dirty="0">
                <a:solidFill>
                  <a:schemeClr val="tx1"/>
                </a:solidFill>
                <a:latin typeface="Arial" panose="020B0604020202020204" pitchFamily="34" charset="0"/>
                <a:cs typeface="Arial" panose="020B0604020202020204" pitchFamily="34" charset="0"/>
              </a:rPr>
              <a:t>⎮ </a:t>
            </a:r>
            <a:r>
              <a:rPr lang="en-US" sz="1000" b="0" i="0" baseline="0" dirty="0">
                <a:solidFill>
                  <a:schemeClr val="tx1"/>
                </a:solidFill>
                <a:latin typeface="Arial" panose="020B0604020202020204" pitchFamily="34" charset="0"/>
                <a:cs typeface="Arial" panose="020B0604020202020204" pitchFamily="34" charset="0"/>
              </a:rPr>
              <a:t>P.O. Box</a:t>
            </a:r>
            <a:br>
              <a:rPr lang="en-US" sz="1000" b="0" i="0" baseline="0" dirty="0">
                <a:solidFill>
                  <a:schemeClr val="tx1"/>
                </a:solidFill>
                <a:latin typeface="Arial" panose="020B0604020202020204" pitchFamily="34" charset="0"/>
              </a:rPr>
            </a:br>
            <a:r>
              <a:rPr lang="en-US" sz="1000" b="0" i="0" baseline="0" dirty="0">
                <a:solidFill>
                  <a:schemeClr val="tx1"/>
                </a:solidFill>
                <a:latin typeface="Arial" panose="020B0604020202020204" pitchFamily="34" charset="0"/>
              </a:rPr>
              <a:t>6302 Zug</a:t>
            </a:r>
            <a:r>
              <a:rPr lang="en-US" sz="1000" b="0" i="0" baseline="0" dirty="0">
                <a:solidFill>
                  <a:schemeClr val="tx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tx1"/>
                </a:solidFill>
                <a:latin typeface="Arial" panose="020B0604020202020204" pitchFamily="34" charset="0"/>
              </a:rPr>
              <a:t>Switzerland
</a:t>
            </a:r>
          </a:p>
        </p:txBody>
      </p:sp>
      <p:pic>
        <p:nvPicPr>
          <p:cNvPr id="14" name="Graphic 9">
            <a:extLst>
              <a:ext uri="{FF2B5EF4-FFF2-40B4-BE49-F238E27FC236}">
                <a16:creationId xmlns:a16="http://schemas.microsoft.com/office/drawing/2014/main" id="{EEA21692-D6E1-4C38-A12B-8BE0C3709DC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2" y="0"/>
            <a:ext cx="1311768" cy="660815"/>
          </a:xfrm>
          <a:prstGeom prst="rect">
            <a:avLst/>
          </a:prstGeom>
        </p:spPr>
      </p:pic>
    </p:spTree>
    <p:extLst>
      <p:ext uri="{BB962C8B-B14F-4D97-AF65-F5344CB8AC3E}">
        <p14:creationId xmlns:p14="http://schemas.microsoft.com/office/powerpoint/2010/main" val="983457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slide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3" name="Graphic 7">
            <a:extLst>
              <a:ext uri="{FF2B5EF4-FFF2-40B4-BE49-F238E27FC236}">
                <a16:creationId xmlns:a16="http://schemas.microsoft.com/office/drawing/2014/main" id="{21324A85-F0F4-46C4-9AB0-86E075BB45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1780" y="1528222"/>
            <a:ext cx="5281588" cy="687937"/>
          </a:xfrm>
          <a:prstGeom prst="rect">
            <a:avLst/>
          </a:prstGeom>
        </p:spPr>
      </p:pic>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bg1"/>
              </a:solidFill>
              <a:latin typeface="Arial" panose="020B0604020202020204" pitchFamily="34" charset="0"/>
              <a:cs typeface="Arial" panose="020B0604020202020204" pitchFamily="34" charset="0"/>
            </a:endParaRPr>
          </a:p>
          <a:p>
            <a:pPr algn="l"/>
            <a:r>
              <a:rPr lang="en-US" sz="1000" b="1" i="0" baseline="0" dirty="0">
                <a:solidFill>
                  <a:schemeClr val="bg1"/>
                </a:solidFill>
                <a:latin typeface="Arial" panose="020B0604020202020204" pitchFamily="34" charset="0"/>
                <a:cs typeface="Arial" panose="020B0604020202020204" pitchFamily="34" charset="0"/>
              </a:rPr>
              <a:t>infront.sport</a:t>
            </a:r>
          </a:p>
          <a:p>
            <a:pPr algn="l"/>
            <a:r>
              <a:rPr lang="en-US" sz="1000" b="1" i="0" baseline="0" dirty="0">
                <a:solidFill>
                  <a:schemeClr val="bg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bg1"/>
                </a:solidFill>
                <a:latin typeface="Arial" panose="020B0604020202020204" pitchFamily="34" charset="0"/>
              </a:rPr>
              <a:t>Infront Sports &amp; Media AG
</a:t>
            </a:r>
            <a:r>
              <a:rPr lang="en-US" sz="1000" b="0" i="0" baseline="0" dirty="0">
                <a:solidFill>
                  <a:schemeClr val="bg1"/>
                </a:solidFill>
                <a:latin typeface="Arial" panose="020B0604020202020204" pitchFamily="34" charset="0"/>
                <a:cs typeface="Arial" panose="020B0604020202020204" pitchFamily="34" charset="0"/>
              </a:rPr>
              <a:t>Grafenauweg 2 </a:t>
            </a:r>
            <a:r>
              <a:rPr lang="en-US" sz="600" b="0" i="0" baseline="0" dirty="0">
                <a:solidFill>
                  <a:schemeClr val="bg1"/>
                </a:solidFill>
                <a:latin typeface="Arial" panose="020B0604020202020204" pitchFamily="34" charset="0"/>
                <a:cs typeface="Arial" panose="020B0604020202020204" pitchFamily="34" charset="0"/>
              </a:rPr>
              <a:t>⎮ </a:t>
            </a:r>
            <a:r>
              <a:rPr lang="en-US" sz="1000" b="0" i="0" baseline="0" dirty="0">
                <a:solidFill>
                  <a:schemeClr val="bg1"/>
                </a:solidFill>
                <a:latin typeface="Arial" panose="020B0604020202020204" pitchFamily="34" charset="0"/>
                <a:cs typeface="Arial" panose="020B0604020202020204" pitchFamily="34" charset="0"/>
              </a:rPr>
              <a:t>P.O. Box</a:t>
            </a:r>
            <a:br>
              <a:rPr lang="en-US" sz="1000" b="0" i="0" baseline="0" dirty="0">
                <a:solidFill>
                  <a:schemeClr val="bg1"/>
                </a:solidFill>
                <a:latin typeface="Arial" panose="020B0604020202020204" pitchFamily="34" charset="0"/>
              </a:rPr>
            </a:br>
            <a:r>
              <a:rPr lang="en-US" sz="1000" b="0" i="0" baseline="0" dirty="0">
                <a:solidFill>
                  <a:schemeClr val="bg1"/>
                </a:solidFill>
                <a:latin typeface="Arial" panose="020B0604020202020204" pitchFamily="34" charset="0"/>
              </a:rPr>
              <a:t>6302 Zug</a:t>
            </a:r>
            <a:r>
              <a:rPr lang="en-US" sz="1000" b="0" i="0" baseline="0" dirty="0">
                <a:solidFill>
                  <a:schemeClr val="bg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bg1"/>
                </a:solidFill>
                <a:latin typeface="Arial" panose="020B0604020202020204" pitchFamily="34" charset="0"/>
              </a:rPr>
              <a:t>Switzerland
</a:t>
            </a:r>
          </a:p>
        </p:txBody>
      </p:sp>
      <p:pic>
        <p:nvPicPr>
          <p:cNvPr id="14" name="Graphic 2">
            <a:extLst>
              <a:ext uri="{FF2B5EF4-FFF2-40B4-BE49-F238E27FC236}">
                <a16:creationId xmlns:a16="http://schemas.microsoft.com/office/drawing/2014/main" id="{D53622D8-EA07-45DF-8737-AB058012E30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1" y="-2"/>
            <a:ext cx="1311769" cy="660816"/>
          </a:xfrm>
          <a:prstGeom prst="rect">
            <a:avLst/>
          </a:prstGeom>
        </p:spPr>
      </p:pic>
    </p:spTree>
    <p:extLst>
      <p:ext uri="{BB962C8B-B14F-4D97-AF65-F5344CB8AC3E}">
        <p14:creationId xmlns:p14="http://schemas.microsoft.com/office/powerpoint/2010/main" val="30825525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6" name="Fußzeilenplatzhalter 5">
            <a:extLst>
              <a:ext uri="{FF2B5EF4-FFF2-40B4-BE49-F238E27FC236}">
                <a16:creationId xmlns:a16="http://schemas.microsoft.com/office/drawing/2014/main" id="{1E58FF82-FFB3-4A1C-B4A0-021C82901A94}"/>
              </a:ext>
            </a:extLst>
          </p:cNvPr>
          <p:cNvSpPr>
            <a:spLocks noGrp="1"/>
          </p:cNvSpPr>
          <p:nvPr>
            <p:ph type="ftr" sz="quarter" idx="1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99753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slide sk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Graphic 12">
            <a:extLst>
              <a:ext uri="{FF2B5EF4-FFF2-40B4-BE49-F238E27FC236}">
                <a16:creationId xmlns:a16="http://schemas.microsoft.com/office/drawing/2014/main" id="{F1309502-5B7E-4F3F-995B-2666CEC6EBC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48311" y="1528222"/>
            <a:ext cx="5281588" cy="687937"/>
          </a:xfrm>
          <a:prstGeom prst="rect">
            <a:avLst/>
          </a:prstGeom>
        </p:spPr>
      </p:pic>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tx1"/>
              </a:solidFill>
              <a:latin typeface="Arial" panose="020B0604020202020204" pitchFamily="34" charset="0"/>
              <a:cs typeface="Arial" panose="020B0604020202020204" pitchFamily="34" charset="0"/>
            </a:endParaRPr>
          </a:p>
          <a:p>
            <a:pPr algn="l"/>
            <a:r>
              <a:rPr lang="en-US" sz="1000" b="1" i="0" baseline="0" dirty="0">
                <a:solidFill>
                  <a:schemeClr val="tx1"/>
                </a:solidFill>
                <a:latin typeface="Arial" panose="020B0604020202020204" pitchFamily="34" charset="0"/>
                <a:cs typeface="Arial" panose="020B0604020202020204" pitchFamily="34" charset="0"/>
              </a:rPr>
              <a:t>infront.sport</a:t>
            </a:r>
          </a:p>
          <a:p>
            <a:pPr algn="l"/>
            <a:r>
              <a:rPr lang="en-US" sz="1000" b="1" i="0" baseline="0" dirty="0">
                <a:solidFill>
                  <a:schemeClr val="tx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tx1"/>
                </a:solidFill>
                <a:latin typeface="Arial" panose="020B0604020202020204" pitchFamily="34" charset="0"/>
              </a:rPr>
              <a:t>Infront Sports &amp; Media AG
</a:t>
            </a:r>
            <a:r>
              <a:rPr lang="en-US" sz="1000" b="0" i="0" baseline="0" dirty="0">
                <a:solidFill>
                  <a:schemeClr val="tx1"/>
                </a:solidFill>
                <a:latin typeface="Arial" panose="020B0604020202020204" pitchFamily="34" charset="0"/>
                <a:cs typeface="Arial" panose="020B0604020202020204" pitchFamily="34" charset="0"/>
              </a:rPr>
              <a:t>Grafenauweg 2 </a:t>
            </a:r>
            <a:r>
              <a:rPr lang="en-US" sz="600" b="0" i="0" baseline="0" dirty="0">
                <a:solidFill>
                  <a:schemeClr val="tx1"/>
                </a:solidFill>
                <a:latin typeface="Arial" panose="020B0604020202020204" pitchFamily="34" charset="0"/>
                <a:cs typeface="Arial" panose="020B0604020202020204" pitchFamily="34" charset="0"/>
              </a:rPr>
              <a:t>⎮ </a:t>
            </a:r>
            <a:r>
              <a:rPr lang="en-US" sz="1000" b="0" i="0" baseline="0" dirty="0">
                <a:solidFill>
                  <a:schemeClr val="tx1"/>
                </a:solidFill>
                <a:latin typeface="Arial" panose="020B0604020202020204" pitchFamily="34" charset="0"/>
                <a:cs typeface="Arial" panose="020B0604020202020204" pitchFamily="34" charset="0"/>
              </a:rPr>
              <a:t>P.O. Box</a:t>
            </a:r>
            <a:br>
              <a:rPr lang="en-US" sz="1000" b="0" i="0" baseline="0" dirty="0">
                <a:solidFill>
                  <a:schemeClr val="tx1"/>
                </a:solidFill>
                <a:latin typeface="Arial" panose="020B0604020202020204" pitchFamily="34" charset="0"/>
              </a:rPr>
            </a:br>
            <a:r>
              <a:rPr lang="en-US" sz="1000" b="0" i="0" baseline="0" dirty="0">
                <a:solidFill>
                  <a:schemeClr val="tx1"/>
                </a:solidFill>
                <a:latin typeface="Arial" panose="020B0604020202020204" pitchFamily="34" charset="0"/>
              </a:rPr>
              <a:t>6302 Zug</a:t>
            </a:r>
            <a:r>
              <a:rPr lang="en-US" sz="1000" b="0" i="0" baseline="0" dirty="0">
                <a:solidFill>
                  <a:schemeClr val="tx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tx1"/>
                </a:solidFill>
                <a:latin typeface="Arial" panose="020B0604020202020204" pitchFamily="34" charset="0"/>
              </a:rPr>
              <a:t>Switzerland
</a:t>
            </a:r>
          </a:p>
        </p:txBody>
      </p:sp>
      <p:pic>
        <p:nvPicPr>
          <p:cNvPr id="14" name="Graphic 9">
            <a:extLst>
              <a:ext uri="{FF2B5EF4-FFF2-40B4-BE49-F238E27FC236}">
                <a16:creationId xmlns:a16="http://schemas.microsoft.com/office/drawing/2014/main" id="{D679F0F1-4D40-4E45-9F99-E073FB984ED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2" y="0"/>
            <a:ext cx="1311768" cy="660815"/>
          </a:xfrm>
          <a:prstGeom prst="rect">
            <a:avLst/>
          </a:prstGeom>
        </p:spPr>
      </p:pic>
    </p:spTree>
    <p:extLst>
      <p:ext uri="{BB962C8B-B14F-4D97-AF65-F5344CB8AC3E}">
        <p14:creationId xmlns:p14="http://schemas.microsoft.com/office/powerpoint/2010/main" val="5460120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bg1"/>
              </a:solidFill>
              <a:latin typeface="Arial" panose="020B0604020202020204" pitchFamily="34" charset="0"/>
              <a:cs typeface="Arial" panose="020B0604020202020204" pitchFamily="34" charset="0"/>
            </a:endParaRPr>
          </a:p>
          <a:p>
            <a:pPr algn="l"/>
            <a:r>
              <a:rPr lang="en-US" sz="1000" b="1" i="0" baseline="0" dirty="0">
                <a:solidFill>
                  <a:schemeClr val="bg1"/>
                </a:solidFill>
                <a:latin typeface="Arial" panose="020B0604020202020204" pitchFamily="34" charset="0"/>
                <a:cs typeface="Arial" panose="020B0604020202020204" pitchFamily="34" charset="0"/>
              </a:rPr>
              <a:t>infront.sport</a:t>
            </a:r>
          </a:p>
          <a:p>
            <a:pPr algn="l"/>
            <a:r>
              <a:rPr lang="en-US" sz="1000" b="1" i="0" baseline="0" dirty="0">
                <a:solidFill>
                  <a:schemeClr val="bg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bg1"/>
                </a:solidFill>
                <a:latin typeface="Arial" panose="020B0604020202020204" pitchFamily="34" charset="0"/>
              </a:rPr>
              <a:t>Infront Sports &amp; Media AG
</a:t>
            </a:r>
            <a:r>
              <a:rPr lang="en-US" sz="1000" b="0" i="0" baseline="0" dirty="0">
                <a:solidFill>
                  <a:schemeClr val="bg1"/>
                </a:solidFill>
                <a:latin typeface="Arial" panose="020B0604020202020204" pitchFamily="34" charset="0"/>
                <a:cs typeface="Arial" panose="020B0604020202020204" pitchFamily="34" charset="0"/>
              </a:rPr>
              <a:t>Grafenauweg 2 </a:t>
            </a:r>
            <a:r>
              <a:rPr lang="en-US" sz="600" b="0" i="0" baseline="0" dirty="0">
                <a:solidFill>
                  <a:schemeClr val="bg1"/>
                </a:solidFill>
                <a:latin typeface="Arial" panose="020B0604020202020204" pitchFamily="34" charset="0"/>
                <a:cs typeface="Arial" panose="020B0604020202020204" pitchFamily="34" charset="0"/>
              </a:rPr>
              <a:t>⎮ </a:t>
            </a:r>
            <a:r>
              <a:rPr lang="en-US" sz="1000" b="0" i="0" baseline="0" dirty="0">
                <a:solidFill>
                  <a:schemeClr val="bg1"/>
                </a:solidFill>
                <a:latin typeface="Arial" panose="020B0604020202020204" pitchFamily="34" charset="0"/>
                <a:cs typeface="Arial" panose="020B0604020202020204" pitchFamily="34" charset="0"/>
              </a:rPr>
              <a:t>P.O. Box</a:t>
            </a:r>
            <a:br>
              <a:rPr lang="en-US" sz="1000" b="0" i="0" baseline="0" dirty="0">
                <a:solidFill>
                  <a:schemeClr val="bg1"/>
                </a:solidFill>
                <a:latin typeface="Arial" panose="020B0604020202020204" pitchFamily="34" charset="0"/>
              </a:rPr>
            </a:br>
            <a:r>
              <a:rPr lang="en-US" sz="1000" b="0" i="0" baseline="0" dirty="0">
                <a:solidFill>
                  <a:schemeClr val="bg1"/>
                </a:solidFill>
                <a:latin typeface="Arial" panose="020B0604020202020204" pitchFamily="34" charset="0"/>
              </a:rPr>
              <a:t>6302 Zug</a:t>
            </a:r>
            <a:r>
              <a:rPr lang="en-US" sz="1000" b="0" i="0" baseline="0" dirty="0">
                <a:solidFill>
                  <a:schemeClr val="bg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bg1"/>
                </a:solidFill>
                <a:latin typeface="Arial" panose="020B0604020202020204" pitchFamily="34" charset="0"/>
              </a:rPr>
              <a:t>Switzerland
</a:t>
            </a:r>
          </a:p>
        </p:txBody>
      </p:sp>
      <p:pic>
        <p:nvPicPr>
          <p:cNvPr id="9" name="Graphic 7">
            <a:extLst>
              <a:ext uri="{FF2B5EF4-FFF2-40B4-BE49-F238E27FC236}">
                <a16:creationId xmlns:a16="http://schemas.microsoft.com/office/drawing/2014/main" id="{4BB075A4-5B22-4FB4-A825-8DCE4DCC9F3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800" y="1528222"/>
            <a:ext cx="6223078" cy="1260885"/>
          </a:xfrm>
          <a:prstGeom prst="rect">
            <a:avLst/>
          </a:prstGeom>
        </p:spPr>
      </p:pic>
      <p:pic>
        <p:nvPicPr>
          <p:cNvPr id="14" name="Graphic 2">
            <a:extLst>
              <a:ext uri="{FF2B5EF4-FFF2-40B4-BE49-F238E27FC236}">
                <a16:creationId xmlns:a16="http://schemas.microsoft.com/office/drawing/2014/main" id="{37EB40DC-04A4-4FEF-AEA5-57EF182483E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1" y="-2"/>
            <a:ext cx="1311769" cy="660816"/>
          </a:xfrm>
          <a:prstGeom prst="rect">
            <a:avLst/>
          </a:prstGeom>
        </p:spPr>
      </p:pic>
    </p:spTree>
    <p:extLst>
      <p:ext uri="{BB962C8B-B14F-4D97-AF65-F5344CB8AC3E}">
        <p14:creationId xmlns:p14="http://schemas.microsoft.com/office/powerpoint/2010/main" val="29391257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 name="Fußzeilenplatzhalter 1">
            <a:extLst>
              <a:ext uri="{FF2B5EF4-FFF2-40B4-BE49-F238E27FC236}">
                <a16:creationId xmlns:a16="http://schemas.microsoft.com/office/drawing/2014/main" id="{622594E9-2443-4E66-AB49-90288AD128FD}"/>
              </a:ext>
            </a:extLst>
          </p:cNvPr>
          <p:cNvSpPr>
            <a:spLocks noGrp="1"/>
          </p:cNvSpPr>
          <p:nvPr>
            <p:ph type="ftr" sz="quarter" idx="13"/>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7665593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ivider slide go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BF7DB639-396B-448F-9100-A4317C5228BC}"/>
              </a:ext>
            </a:extLst>
          </p:cNvPr>
          <p:cNvSpPr>
            <a:spLocks noGrp="1"/>
          </p:cNvSpPr>
          <p:nvPr>
            <p:ph type="ftr" sz="quarter" idx="10"/>
          </p:nvPr>
        </p:nvSpPr>
        <p:spPr/>
        <p:txBody>
          <a:bodyPr/>
          <a:lstStyle/>
          <a:p>
            <a:r>
              <a:rPr lang="en-GB"/>
              <a:t>#AllAboutSports</a:t>
            </a:r>
            <a:endParaRPr lang="en-GB" dirty="0"/>
          </a:p>
        </p:txBody>
      </p:sp>
    </p:spTree>
    <p:extLst>
      <p:ext uri="{BB962C8B-B14F-4D97-AF65-F5344CB8AC3E}">
        <p14:creationId xmlns:p14="http://schemas.microsoft.com/office/powerpoint/2010/main" val="3642494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Divider slide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5">
            <a:extLst>
              <a:ext uri="{FF2B5EF4-FFF2-40B4-BE49-F238E27FC236}">
                <a16:creationId xmlns:a16="http://schemas.microsoft.com/office/drawing/2014/main" id="{EE28F655-1B57-4945-9784-81F2C225A10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063831" y="0"/>
            <a:ext cx="756318" cy="381002"/>
          </a:xfrm>
          <a:prstGeom prst="rect">
            <a:avLst/>
          </a:prstGeom>
        </p:spPr>
      </p:pic>
      <p:sp>
        <p:nvSpPr>
          <p:cNvPr id="4" name="Fußzeilenplatzhalter 3">
            <a:extLst>
              <a:ext uri="{FF2B5EF4-FFF2-40B4-BE49-F238E27FC236}">
                <a16:creationId xmlns:a16="http://schemas.microsoft.com/office/drawing/2014/main" id="{27C459DB-0EBD-4AB3-BB7C-71D740396379}"/>
              </a:ext>
            </a:extLst>
          </p:cNvPr>
          <p:cNvSpPr>
            <a:spLocks noGrp="1"/>
          </p:cNvSpPr>
          <p:nvPr>
            <p:ph type="ftr" sz="quarter" idx="10"/>
          </p:nvPr>
        </p:nvSpPr>
        <p:spPr/>
        <p:txBody>
          <a:bodyPr/>
          <a:lstStyle/>
          <a:p>
            <a:r>
              <a:rPr lang="en-GB"/>
              <a:t>#AllAboutSports</a:t>
            </a:r>
            <a:endParaRPr lang="en-GB" dirty="0"/>
          </a:p>
        </p:txBody>
      </p:sp>
    </p:spTree>
    <p:extLst>
      <p:ext uri="{BB962C8B-B14F-4D97-AF65-F5344CB8AC3E}">
        <p14:creationId xmlns:p14="http://schemas.microsoft.com/office/powerpoint/2010/main" val="51196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Divider slide handba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87B8C3FC-D8C9-42C2-8756-76C78A8C6080}"/>
              </a:ext>
            </a:extLst>
          </p:cNvPr>
          <p:cNvSpPr>
            <a:spLocks noGrp="1"/>
          </p:cNvSpPr>
          <p:nvPr>
            <p:ph type="ftr" sz="quarter" idx="1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814052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Divider slide sk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5232101" y="1982164"/>
            <a:ext cx="3443587"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5232101" y="3968247"/>
            <a:ext cx="3443587"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5232101"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1E813E30-FD77-403A-8B53-205A97B667F8}"/>
              </a:ext>
            </a:extLst>
          </p:cNvPr>
          <p:cNvSpPr>
            <a:spLocks noGrp="1"/>
          </p:cNvSpPr>
          <p:nvPr>
            <p:ph type="ftr" sz="quarter" idx="1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021828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oleObject" Target="../embeddings/oleObject2.bin"/><Relationship Id="rId5" Type="http://schemas.openxmlformats.org/officeDocument/2006/relationships/slideLayout" Target="../slideLayouts/slideLayout9.xml"/><Relationship Id="rId10" Type="http://schemas.openxmlformats.org/officeDocument/2006/relationships/tags" Target="../tags/tag5.xml"/><Relationship Id="rId4" Type="http://schemas.openxmlformats.org/officeDocument/2006/relationships/slideLayout" Target="../slideLayouts/slideLayout8.xml"/><Relationship Id="rId9"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theme" Target="../theme/theme3.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oleObject" Target="../embeddings/oleObject3.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tags" Target="../tags/tag7.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6D715A-B872-4C0E-8EDE-078B913FE4B2}"/>
              </a:ext>
            </a:extLst>
          </p:cNvPr>
          <p:cNvGraphicFramePr>
            <a:graphicFrameLocks noChangeAspect="1"/>
          </p:cNvGraphicFramePr>
          <p:nvPr userDrawn="1">
            <p:custDataLst>
              <p:tags r:id="rId6"/>
            </p:custDataLst>
            <p:extLst>
              <p:ext uri="{D42A27DB-BD31-4B8C-83A1-F6EECF244321}">
                <p14:modId xmlns:p14="http://schemas.microsoft.com/office/powerpoint/2010/main" val="3078784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0" imgH="380" progId="TCLayout.ActiveDocument.1">
                  <p:embed/>
                </p:oleObj>
              </mc:Choice>
              <mc:Fallback>
                <p:oleObj name="think-cell Slide" r:id="rId8" imgW="380" imgH="380" progId="TCLayout.ActiveDocument.1">
                  <p:embed/>
                  <p:pic>
                    <p:nvPicPr>
                      <p:cNvPr id="7" name="Object 6" hidden="1">
                        <a:extLst>
                          <a:ext uri="{FF2B5EF4-FFF2-40B4-BE49-F238E27FC236}">
                            <a16:creationId xmlns:a16="http://schemas.microsoft.com/office/drawing/2014/main" id="{FE6D715A-B872-4C0E-8EDE-078B913FE4B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9B420CB-FD51-4525-B391-C25F831E3571}"/>
              </a:ext>
            </a:extLst>
          </p:cNvPr>
          <p:cNvSpPr/>
          <p:nvPr userDrawn="1">
            <p:custDataLst>
              <p:tags r:id="rId7"/>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Fußzeilenplatzhalter 2">
            <a:extLst>
              <a:ext uri="{FF2B5EF4-FFF2-40B4-BE49-F238E27FC236}">
                <a16:creationId xmlns:a16="http://schemas.microsoft.com/office/drawing/2014/main" id="{C3F6855C-A1F9-4462-A039-49DBCAE864D9}"/>
              </a:ext>
            </a:extLst>
          </p:cNvPr>
          <p:cNvSpPr>
            <a:spLocks noGrp="1"/>
          </p:cNvSpPr>
          <p:nvPr>
            <p:ph type="ftr" sz="quarter" idx="3"/>
          </p:nvPr>
        </p:nvSpPr>
        <p:spPr>
          <a:xfrm>
            <a:off x="5688463" y="119981"/>
            <a:ext cx="2232000" cy="180000"/>
          </a:xfrm>
          <a:prstGeom prst="rect">
            <a:avLst/>
          </a:prstGeom>
        </p:spPr>
        <p:txBody>
          <a:bodyPr vert="horz" lIns="0" tIns="0" rIns="0" bIns="0" rtlCol="0" anchor="ctr"/>
          <a:lstStyle>
            <a:lvl1pPr algn="r">
              <a:defRPr sz="900" b="1">
                <a:solidFill>
                  <a:schemeClr val="bg1"/>
                </a:solidFill>
              </a:defRPr>
            </a:lvl1pPr>
          </a:lstStyle>
          <a:p>
            <a:r>
              <a:rPr lang="en-GB"/>
              <a:t>#AllAboutSports</a:t>
            </a:r>
            <a:endParaRPr lang="en-GB" dirty="0"/>
          </a:p>
        </p:txBody>
      </p:sp>
      <p:sp>
        <p:nvSpPr>
          <p:cNvPr id="2" name="Titelplatzhalter 1">
            <a:extLst>
              <a:ext uri="{FF2B5EF4-FFF2-40B4-BE49-F238E27FC236}">
                <a16:creationId xmlns:a16="http://schemas.microsoft.com/office/drawing/2014/main" id="{000DB4FB-CF31-4E9D-B010-41DF27FA1B56}"/>
              </a:ext>
            </a:extLst>
          </p:cNvPr>
          <p:cNvSpPr>
            <a:spLocks noGrp="1"/>
          </p:cNvSpPr>
          <p:nvPr>
            <p:ph type="title"/>
          </p:nvPr>
        </p:nvSpPr>
        <p:spPr>
          <a:xfrm>
            <a:off x="431800" y="560004"/>
            <a:ext cx="8243888" cy="61200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6" name="Foliennummernplatzhalter 5">
            <a:extLst>
              <a:ext uri="{FF2B5EF4-FFF2-40B4-BE49-F238E27FC236}">
                <a16:creationId xmlns:a16="http://schemas.microsoft.com/office/drawing/2014/main" id="{635921D0-89FA-4BA1-9A12-665CF34AFDEA}"/>
              </a:ext>
            </a:extLst>
          </p:cNvPr>
          <p:cNvSpPr>
            <a:spLocks noGrp="1"/>
          </p:cNvSpPr>
          <p:nvPr>
            <p:ph type="sldNum" sz="quarter" idx="4"/>
          </p:nvPr>
        </p:nvSpPr>
        <p:spPr>
          <a:xfrm>
            <a:off x="7365818" y="4966290"/>
            <a:ext cx="1454331" cy="109493"/>
          </a:xfrm>
          <a:prstGeom prst="rect">
            <a:avLst/>
          </a:prstGeom>
        </p:spPr>
        <p:txBody>
          <a:bodyPr vert="horz" lIns="0" tIns="0" rIns="0" bIns="0" rtlCol="0" anchor="b" anchorCtr="0"/>
          <a:lstStyle>
            <a:lvl1pPr algn="r">
              <a:defRPr sz="600" b="1">
                <a:solidFill>
                  <a:srgbClr val="686A6E"/>
                </a:solidFill>
              </a:defRPr>
            </a:lvl1pPr>
          </a:lstStyle>
          <a:p>
            <a:fld id="{9B60B346-FC99-4236-B943-65AE761B958F}" type="slidenum">
              <a:rPr lang="de-CH" smtClean="0"/>
              <a:pPr/>
              <a:t>‹#›</a:t>
            </a:fld>
            <a:endParaRPr lang="de-CH" dirty="0"/>
          </a:p>
        </p:txBody>
      </p:sp>
      <p:sp>
        <p:nvSpPr>
          <p:cNvPr id="4" name="Textplatzhalter 3">
            <a:extLst>
              <a:ext uri="{FF2B5EF4-FFF2-40B4-BE49-F238E27FC236}">
                <a16:creationId xmlns:a16="http://schemas.microsoft.com/office/drawing/2014/main" id="{02DBA452-769D-4BE1-8C8E-3A93D9AF5832}"/>
              </a:ext>
            </a:extLst>
          </p:cNvPr>
          <p:cNvSpPr>
            <a:spLocks noGrp="1"/>
          </p:cNvSpPr>
          <p:nvPr>
            <p:ph type="body" idx="1"/>
          </p:nvPr>
        </p:nvSpPr>
        <p:spPr>
          <a:xfrm>
            <a:off x="431800" y="1419224"/>
            <a:ext cx="8243888" cy="33131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GB" dirty="0"/>
          </a:p>
        </p:txBody>
      </p:sp>
    </p:spTree>
    <p:extLst>
      <p:ext uri="{BB962C8B-B14F-4D97-AF65-F5344CB8AC3E}">
        <p14:creationId xmlns:p14="http://schemas.microsoft.com/office/powerpoint/2010/main" val="534149414"/>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Lst>
  <p:hf hdr="0" dt="0"/>
  <p:txStyles>
    <p:titleStyle>
      <a:lvl1pPr algn="l" defTabSz="6858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2pPr>
      <a:lvl3pPr marL="90488" indent="-904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3pPr>
      <a:lvl4pPr marL="268288" indent="-180975"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4pPr>
      <a:lvl5pPr marL="447675" indent="-1793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5pPr>
      <a:lvl6pPr marL="628650" indent="-180975" algn="l" defTabSz="685800" rtl="0" eaLnBrk="1" latinLnBrk="0" hangingPunct="1">
        <a:lnSpc>
          <a:spcPct val="100000"/>
        </a:lnSpc>
        <a:spcBef>
          <a:spcPts val="0"/>
        </a:spcBef>
        <a:buFont typeface="Arial" panose="020B0604020202020204" pitchFamily="34" charset="0"/>
        <a:buChar char="‒"/>
        <a:tabLst/>
        <a:defRPr sz="1000" b="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p15:clr>
            <a:srgbClr val="F26B43"/>
          </p15:clr>
        </p15:guide>
        <p15:guide id="2" orient="horz" pos="395">
          <p15:clr>
            <a:srgbClr val="F26B43"/>
          </p15:clr>
        </p15:guide>
        <p15:guide id="3" pos="5465">
          <p15:clr>
            <a:srgbClr val="F26B43"/>
          </p15:clr>
        </p15:guide>
        <p15:guide id="4" pos="5556">
          <p15:clr>
            <a:srgbClr val="F26B43"/>
          </p15:clr>
        </p15:guide>
        <p15:guide id="5" orient="horz" pos="3185">
          <p15:clr>
            <a:srgbClr val="F26B43"/>
          </p15:clr>
        </p15:guide>
        <p15:guide id="6" orient="horz" pos="894">
          <p15:clr>
            <a:srgbClr val="F26B43"/>
          </p15:clr>
        </p15:guide>
        <p15:guide id="7" orient="horz" pos="29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9A44EE-6C7F-49B8-A281-A148FD7B849B}"/>
              </a:ext>
            </a:extLst>
          </p:cNvPr>
          <p:cNvGraphicFramePr>
            <a:graphicFrameLocks noChangeAspect="1"/>
          </p:cNvGraphicFramePr>
          <p:nvPr userDrawn="1">
            <p:custDataLst>
              <p:tags r:id="rId9"/>
            </p:custDataLst>
            <p:extLst>
              <p:ext uri="{D42A27DB-BD31-4B8C-83A1-F6EECF244321}">
                <p14:modId xmlns:p14="http://schemas.microsoft.com/office/powerpoint/2010/main" val="2836533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80" imgH="380" progId="TCLayout.ActiveDocument.1">
                  <p:embed/>
                </p:oleObj>
              </mc:Choice>
              <mc:Fallback>
                <p:oleObj name="think-cell Slide" r:id="rId11" imgW="380" imgH="380" progId="TCLayout.ActiveDocument.1">
                  <p:embed/>
                  <p:pic>
                    <p:nvPicPr>
                      <p:cNvPr id="7" name="Object 6" hidden="1">
                        <a:extLst>
                          <a:ext uri="{FF2B5EF4-FFF2-40B4-BE49-F238E27FC236}">
                            <a16:creationId xmlns:a16="http://schemas.microsoft.com/office/drawing/2014/main" id="{A29A44EE-6C7F-49B8-A281-A148FD7B849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F678D3-7E2F-44D9-837D-33B87A629C5B}"/>
              </a:ext>
            </a:extLst>
          </p:cNvPr>
          <p:cNvSpPr/>
          <p:nvPr userDrawn="1">
            <p:custDataLst>
              <p:tags r:id="rId10"/>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Fußzeilenplatzhalter 2">
            <a:extLst>
              <a:ext uri="{FF2B5EF4-FFF2-40B4-BE49-F238E27FC236}">
                <a16:creationId xmlns:a16="http://schemas.microsoft.com/office/drawing/2014/main" id="{C3F6855C-A1F9-4462-A039-49DBCAE864D9}"/>
              </a:ext>
            </a:extLst>
          </p:cNvPr>
          <p:cNvSpPr>
            <a:spLocks noGrp="1"/>
          </p:cNvSpPr>
          <p:nvPr>
            <p:ph type="ftr" sz="quarter" idx="3"/>
          </p:nvPr>
        </p:nvSpPr>
        <p:spPr>
          <a:xfrm>
            <a:off x="5688463" y="119981"/>
            <a:ext cx="2232000" cy="180000"/>
          </a:xfrm>
          <a:prstGeom prst="rect">
            <a:avLst/>
          </a:prstGeom>
        </p:spPr>
        <p:txBody>
          <a:bodyPr vert="horz" lIns="0" tIns="0" rIns="0" bIns="0" rtlCol="0" anchor="ctr"/>
          <a:lstStyle>
            <a:lvl1pPr algn="r">
              <a:defRPr sz="900" b="1">
                <a:solidFill>
                  <a:schemeClr val="bg1"/>
                </a:solidFill>
              </a:defRPr>
            </a:lvl1pPr>
          </a:lstStyle>
          <a:p>
            <a:r>
              <a:rPr lang="en-GB"/>
              <a:t>#AllAboutSports</a:t>
            </a:r>
            <a:endParaRPr lang="en-GB" dirty="0"/>
          </a:p>
        </p:txBody>
      </p:sp>
      <p:sp>
        <p:nvSpPr>
          <p:cNvPr id="2" name="Titelplatzhalter 1">
            <a:extLst>
              <a:ext uri="{FF2B5EF4-FFF2-40B4-BE49-F238E27FC236}">
                <a16:creationId xmlns:a16="http://schemas.microsoft.com/office/drawing/2014/main" id="{000DB4FB-CF31-4E9D-B010-41DF27FA1B56}"/>
              </a:ext>
            </a:extLst>
          </p:cNvPr>
          <p:cNvSpPr>
            <a:spLocks noGrp="1"/>
          </p:cNvSpPr>
          <p:nvPr>
            <p:ph type="title"/>
          </p:nvPr>
        </p:nvSpPr>
        <p:spPr>
          <a:xfrm>
            <a:off x="431800" y="560004"/>
            <a:ext cx="8243888" cy="612000"/>
          </a:xfrm>
          <a:prstGeom prst="rect">
            <a:avLst/>
          </a:prstGeom>
        </p:spPr>
        <p:txBody>
          <a:bodyPr vert="horz" lIns="0" tIns="0" rIns="0" bIns="0" rtlCol="0" anchor="t" anchorCtr="0">
            <a:noAutofit/>
          </a:bodyPr>
          <a:lstStyle/>
          <a:p>
            <a:r>
              <a:rPr lang="en-US" noProof="0" dirty="0"/>
              <a:t>Click to edit master title style</a:t>
            </a:r>
          </a:p>
        </p:txBody>
      </p:sp>
      <p:sp>
        <p:nvSpPr>
          <p:cNvPr id="6" name="Foliennummernplatzhalter 5">
            <a:extLst>
              <a:ext uri="{FF2B5EF4-FFF2-40B4-BE49-F238E27FC236}">
                <a16:creationId xmlns:a16="http://schemas.microsoft.com/office/drawing/2014/main" id="{635921D0-89FA-4BA1-9A12-665CF34AFDEA}"/>
              </a:ext>
            </a:extLst>
          </p:cNvPr>
          <p:cNvSpPr>
            <a:spLocks noGrp="1"/>
          </p:cNvSpPr>
          <p:nvPr>
            <p:ph type="sldNum" sz="quarter" idx="4"/>
          </p:nvPr>
        </p:nvSpPr>
        <p:spPr>
          <a:xfrm>
            <a:off x="7365818" y="4966290"/>
            <a:ext cx="1454331" cy="109493"/>
          </a:xfrm>
          <a:prstGeom prst="rect">
            <a:avLst/>
          </a:prstGeom>
        </p:spPr>
        <p:txBody>
          <a:bodyPr vert="horz" lIns="0" tIns="0" rIns="0" bIns="0" rtlCol="0" anchor="b" anchorCtr="0"/>
          <a:lstStyle>
            <a:lvl1pPr algn="r">
              <a:defRPr sz="600" b="1">
                <a:solidFill>
                  <a:srgbClr val="686A6E"/>
                </a:solidFill>
              </a:defRPr>
            </a:lvl1pPr>
          </a:lstStyle>
          <a:p>
            <a:fld id="{9B60B346-FC99-4236-B943-65AE761B958F}" type="slidenum">
              <a:rPr lang="de-CH" smtClean="0"/>
              <a:pPr/>
              <a:t>‹#›</a:t>
            </a:fld>
            <a:endParaRPr lang="de-CH" dirty="0"/>
          </a:p>
        </p:txBody>
      </p:sp>
      <p:sp>
        <p:nvSpPr>
          <p:cNvPr id="4" name="Textplatzhalter 3">
            <a:extLst>
              <a:ext uri="{FF2B5EF4-FFF2-40B4-BE49-F238E27FC236}">
                <a16:creationId xmlns:a16="http://schemas.microsoft.com/office/drawing/2014/main" id="{02DBA452-769D-4BE1-8C8E-3A93D9AF5832}"/>
              </a:ext>
            </a:extLst>
          </p:cNvPr>
          <p:cNvSpPr>
            <a:spLocks noGrp="1"/>
          </p:cNvSpPr>
          <p:nvPr>
            <p:ph type="body" idx="1"/>
          </p:nvPr>
        </p:nvSpPr>
        <p:spPr>
          <a:xfrm>
            <a:off x="431800" y="1419224"/>
            <a:ext cx="8243888" cy="33131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GB" dirty="0"/>
          </a:p>
        </p:txBody>
      </p:sp>
    </p:spTree>
    <p:extLst>
      <p:ext uri="{BB962C8B-B14F-4D97-AF65-F5344CB8AC3E}">
        <p14:creationId xmlns:p14="http://schemas.microsoft.com/office/powerpoint/2010/main" val="2738388989"/>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Lst>
  <p:hf hdr="0" dt="0"/>
  <p:txStyles>
    <p:titleStyle>
      <a:lvl1pPr algn="l" defTabSz="6858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2pPr>
      <a:lvl3pPr marL="90488" indent="-904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3pPr>
      <a:lvl4pPr marL="268288" indent="-180975"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4pPr>
      <a:lvl5pPr marL="447675" indent="-1793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5pPr>
      <a:lvl6pPr marL="628650" indent="-180975" algn="l" defTabSz="685800" rtl="0" eaLnBrk="1" latinLnBrk="0" hangingPunct="1">
        <a:lnSpc>
          <a:spcPct val="100000"/>
        </a:lnSpc>
        <a:spcBef>
          <a:spcPts val="0"/>
        </a:spcBef>
        <a:buFont typeface="Arial" panose="020B0604020202020204" pitchFamily="34" charset="0"/>
        <a:buChar char="‒"/>
        <a:tabLst/>
        <a:defRPr sz="1000" b="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p15:clr>
            <a:srgbClr val="F26B43"/>
          </p15:clr>
        </p15:guide>
        <p15:guide id="2" orient="horz" pos="395">
          <p15:clr>
            <a:srgbClr val="F26B43"/>
          </p15:clr>
        </p15:guide>
        <p15:guide id="3" pos="5465">
          <p15:clr>
            <a:srgbClr val="F26B43"/>
          </p15:clr>
        </p15:guide>
        <p15:guide id="4" pos="5556">
          <p15:clr>
            <a:srgbClr val="F26B43"/>
          </p15:clr>
        </p15:guide>
        <p15:guide id="5" orient="horz" pos="3185">
          <p15:clr>
            <a:srgbClr val="F26B43"/>
          </p15:clr>
        </p15:guide>
        <p15:guide id="6" orient="horz" pos="894">
          <p15:clr>
            <a:srgbClr val="F26B43"/>
          </p15:clr>
        </p15:guide>
        <p15:guide id="7" orient="horz" pos="29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DD500C-4784-4D2E-8658-2749362C4817}"/>
              </a:ext>
            </a:extLst>
          </p:cNvPr>
          <p:cNvGraphicFramePr>
            <a:graphicFrameLocks noChangeAspect="1"/>
          </p:cNvGraphicFramePr>
          <p:nvPr userDrawn="1">
            <p:custDataLst>
              <p:tags r:id="rId43"/>
            </p:custDataLst>
            <p:extLst>
              <p:ext uri="{D42A27DB-BD31-4B8C-83A1-F6EECF244321}">
                <p14:modId xmlns:p14="http://schemas.microsoft.com/office/powerpoint/2010/main" val="157852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380" imgH="380" progId="TCLayout.ActiveDocument.1">
                  <p:embed/>
                </p:oleObj>
              </mc:Choice>
              <mc:Fallback>
                <p:oleObj name="think-cell Slide" r:id="rId45" imgW="380" imgH="380" progId="TCLayout.ActiveDocument.1">
                  <p:embed/>
                  <p:pic>
                    <p:nvPicPr>
                      <p:cNvPr id="7" name="Object 6" hidden="1">
                        <a:extLst>
                          <a:ext uri="{FF2B5EF4-FFF2-40B4-BE49-F238E27FC236}">
                            <a16:creationId xmlns:a16="http://schemas.microsoft.com/office/drawing/2014/main" id="{7BDD500C-4784-4D2E-8658-2749362C4817}"/>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70FBE1C-3E55-454E-8B64-70455ED40397}"/>
              </a:ext>
            </a:extLst>
          </p:cNvPr>
          <p:cNvSpPr/>
          <p:nvPr userDrawn="1">
            <p:custDataLst>
              <p:tags r:id="rId44"/>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Fußzeilenplatzhalter 2">
            <a:extLst>
              <a:ext uri="{FF2B5EF4-FFF2-40B4-BE49-F238E27FC236}">
                <a16:creationId xmlns:a16="http://schemas.microsoft.com/office/drawing/2014/main" id="{C3F6855C-A1F9-4462-A039-49DBCAE864D9}"/>
              </a:ext>
            </a:extLst>
          </p:cNvPr>
          <p:cNvSpPr>
            <a:spLocks noGrp="1"/>
          </p:cNvSpPr>
          <p:nvPr>
            <p:ph type="ftr" sz="quarter" idx="3"/>
          </p:nvPr>
        </p:nvSpPr>
        <p:spPr>
          <a:xfrm>
            <a:off x="5688463" y="119981"/>
            <a:ext cx="2232000" cy="180000"/>
          </a:xfrm>
          <a:prstGeom prst="rect">
            <a:avLst/>
          </a:prstGeom>
        </p:spPr>
        <p:txBody>
          <a:bodyPr vert="horz" lIns="0" tIns="0" rIns="0" bIns="0" rtlCol="0" anchor="ctr"/>
          <a:lstStyle>
            <a:lvl1pPr algn="r">
              <a:defRPr sz="900" b="1">
                <a:solidFill>
                  <a:schemeClr val="bg1"/>
                </a:solidFill>
              </a:defRPr>
            </a:lvl1pPr>
          </a:lstStyle>
          <a:p>
            <a:r>
              <a:rPr lang="en-GB"/>
              <a:t>#AllAboutSports</a:t>
            </a:r>
            <a:endParaRPr lang="en-GB" dirty="0"/>
          </a:p>
        </p:txBody>
      </p:sp>
      <p:sp>
        <p:nvSpPr>
          <p:cNvPr id="2" name="Titelplatzhalter 1">
            <a:extLst>
              <a:ext uri="{FF2B5EF4-FFF2-40B4-BE49-F238E27FC236}">
                <a16:creationId xmlns:a16="http://schemas.microsoft.com/office/drawing/2014/main" id="{000DB4FB-CF31-4E9D-B010-41DF27FA1B56}"/>
              </a:ext>
            </a:extLst>
          </p:cNvPr>
          <p:cNvSpPr>
            <a:spLocks noGrp="1"/>
          </p:cNvSpPr>
          <p:nvPr>
            <p:ph type="title"/>
          </p:nvPr>
        </p:nvSpPr>
        <p:spPr>
          <a:xfrm>
            <a:off x="431800" y="560004"/>
            <a:ext cx="8243888" cy="612000"/>
          </a:xfrm>
          <a:prstGeom prst="rect">
            <a:avLst/>
          </a:prstGeom>
        </p:spPr>
        <p:txBody>
          <a:bodyPr vert="horz" lIns="0" tIns="0" rIns="0" bIns="0" rtlCol="0" anchor="t" anchorCtr="0">
            <a:noAutofit/>
          </a:bodyPr>
          <a:lstStyle/>
          <a:p>
            <a:r>
              <a:rPr lang="en-US" noProof="0" dirty="0"/>
              <a:t>Click to edit master title style</a:t>
            </a:r>
          </a:p>
        </p:txBody>
      </p:sp>
      <p:sp>
        <p:nvSpPr>
          <p:cNvPr id="6" name="Foliennummernplatzhalter 5">
            <a:extLst>
              <a:ext uri="{FF2B5EF4-FFF2-40B4-BE49-F238E27FC236}">
                <a16:creationId xmlns:a16="http://schemas.microsoft.com/office/drawing/2014/main" id="{635921D0-89FA-4BA1-9A12-665CF34AFDEA}"/>
              </a:ext>
            </a:extLst>
          </p:cNvPr>
          <p:cNvSpPr>
            <a:spLocks noGrp="1"/>
          </p:cNvSpPr>
          <p:nvPr>
            <p:ph type="sldNum" sz="quarter" idx="4"/>
          </p:nvPr>
        </p:nvSpPr>
        <p:spPr>
          <a:xfrm>
            <a:off x="7365818" y="4966290"/>
            <a:ext cx="1454331" cy="109493"/>
          </a:xfrm>
          <a:prstGeom prst="rect">
            <a:avLst/>
          </a:prstGeom>
        </p:spPr>
        <p:txBody>
          <a:bodyPr vert="horz" lIns="0" tIns="0" rIns="0" bIns="0" rtlCol="0" anchor="b" anchorCtr="0"/>
          <a:lstStyle>
            <a:lvl1pPr algn="r">
              <a:defRPr sz="600" b="1">
                <a:solidFill>
                  <a:srgbClr val="686A6E"/>
                </a:solidFill>
              </a:defRPr>
            </a:lvl1pPr>
          </a:lstStyle>
          <a:p>
            <a:fld id="{9B60B346-FC99-4236-B943-65AE761B958F}" type="slidenum">
              <a:rPr lang="de-CH" smtClean="0"/>
              <a:pPr/>
              <a:t>‹#›</a:t>
            </a:fld>
            <a:endParaRPr lang="de-CH" dirty="0"/>
          </a:p>
        </p:txBody>
      </p:sp>
      <p:sp>
        <p:nvSpPr>
          <p:cNvPr id="4" name="Textplatzhalter 3">
            <a:extLst>
              <a:ext uri="{FF2B5EF4-FFF2-40B4-BE49-F238E27FC236}">
                <a16:creationId xmlns:a16="http://schemas.microsoft.com/office/drawing/2014/main" id="{02DBA452-769D-4BE1-8C8E-3A93D9AF5832}"/>
              </a:ext>
            </a:extLst>
          </p:cNvPr>
          <p:cNvSpPr>
            <a:spLocks noGrp="1"/>
          </p:cNvSpPr>
          <p:nvPr>
            <p:ph type="body" idx="1"/>
          </p:nvPr>
        </p:nvSpPr>
        <p:spPr>
          <a:xfrm>
            <a:off x="431800" y="1419224"/>
            <a:ext cx="8243888" cy="33131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GB" dirty="0"/>
          </a:p>
        </p:txBody>
      </p:sp>
    </p:spTree>
    <p:extLst>
      <p:ext uri="{BB962C8B-B14F-4D97-AF65-F5344CB8AC3E}">
        <p14:creationId xmlns:p14="http://schemas.microsoft.com/office/powerpoint/2010/main" val="4143788776"/>
      </p:ext>
    </p:extLst>
  </p:cSld>
  <p:clrMap bg1="lt1" tx1="dk1" bg2="lt2" tx2="dk2" accent1="accent1" accent2="accent2" accent3="accent3" accent4="accent4" accent5="accent5" accent6="accent6" hlink="hlink" folHlink="folHlink"/>
  <p:sldLayoutIdLst>
    <p:sldLayoutId id="2147483810" r:id="rId1"/>
    <p:sldLayoutId id="2147483681" r:id="rId2"/>
    <p:sldLayoutId id="2147483682" r:id="rId3"/>
    <p:sldLayoutId id="2147483683" r:id="rId4"/>
    <p:sldLayoutId id="2147483684" r:id="rId5"/>
    <p:sldLayoutId id="2147483685" r:id="rId6"/>
    <p:sldLayoutId id="2147483686" r:id="rId7"/>
    <p:sldLayoutId id="2147483687" r:id="rId8"/>
    <p:sldLayoutId id="2147483824" r:id="rId9"/>
    <p:sldLayoutId id="2147483825" r:id="rId10"/>
    <p:sldLayoutId id="2147483651" r:id="rId11"/>
    <p:sldLayoutId id="2147483652" r:id="rId12"/>
    <p:sldLayoutId id="2147483654" r:id="rId13"/>
    <p:sldLayoutId id="2147483655" r:id="rId14"/>
    <p:sldLayoutId id="2147483656" r:id="rId15"/>
    <p:sldLayoutId id="2147483657" r:id="rId16"/>
    <p:sldLayoutId id="2147483658" r:id="rId17"/>
    <p:sldLayoutId id="2147483659" r:id="rId18"/>
    <p:sldLayoutId id="2147483808" r:id="rId19"/>
    <p:sldLayoutId id="2147483809" r:id="rId20"/>
    <p:sldLayoutId id="2147483803" r:id="rId21"/>
    <p:sldLayoutId id="2147483804" r:id="rId22"/>
    <p:sldLayoutId id="2147483660" r:id="rId23"/>
    <p:sldLayoutId id="2147483667" r:id="rId24"/>
    <p:sldLayoutId id="2147483805" r:id="rId25"/>
    <p:sldLayoutId id="2147483668" r:id="rId26"/>
    <p:sldLayoutId id="2147483806" r:id="rId27"/>
    <p:sldLayoutId id="2147483689" r:id="rId28"/>
    <p:sldLayoutId id="2147483807" r:id="rId29"/>
    <p:sldLayoutId id="2147483690" r:id="rId30"/>
    <p:sldLayoutId id="2147483816" r:id="rId31"/>
    <p:sldLayoutId id="2147483815" r:id="rId32"/>
    <p:sldLayoutId id="2147483812" r:id="rId33"/>
    <p:sldLayoutId id="2147483818" r:id="rId34"/>
    <p:sldLayoutId id="2147483661" r:id="rId35"/>
    <p:sldLayoutId id="2147483662" r:id="rId36"/>
    <p:sldLayoutId id="2147483663" r:id="rId37"/>
    <p:sldLayoutId id="2147483664" r:id="rId38"/>
    <p:sldLayoutId id="2147483665" r:id="rId39"/>
    <p:sldLayoutId id="2147483666" r:id="rId40"/>
    <p:sldLayoutId id="2147483688" r:id="rId41"/>
  </p:sldLayoutIdLst>
  <p:hf hdr="0" dt="0"/>
  <p:txStyles>
    <p:titleStyle>
      <a:lvl1pPr algn="l" defTabSz="6858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2pPr>
      <a:lvl3pPr marL="90488" indent="-904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3pPr>
      <a:lvl4pPr marL="268288" indent="-180975"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4pPr>
      <a:lvl5pPr marL="447675" indent="-1793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5pPr>
      <a:lvl6pPr marL="628650" indent="-180975" algn="l" defTabSz="685800" rtl="0" eaLnBrk="1" latinLnBrk="0" hangingPunct="1">
        <a:lnSpc>
          <a:spcPct val="100000"/>
        </a:lnSpc>
        <a:spcBef>
          <a:spcPts val="0"/>
        </a:spcBef>
        <a:buFont typeface="Arial" panose="020B0604020202020204" pitchFamily="34" charset="0"/>
        <a:buChar char="‒"/>
        <a:tabLst/>
        <a:defRPr sz="1000" b="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userDrawn="1">
          <p15:clr>
            <a:srgbClr val="F26B43"/>
          </p15:clr>
        </p15:guide>
        <p15:guide id="2" orient="horz" pos="395" userDrawn="1">
          <p15:clr>
            <a:srgbClr val="F26B43"/>
          </p15:clr>
        </p15:guide>
        <p15:guide id="3" pos="5465" userDrawn="1">
          <p15:clr>
            <a:srgbClr val="F26B43"/>
          </p15:clr>
        </p15:guide>
        <p15:guide id="4" pos="5556" userDrawn="1">
          <p15:clr>
            <a:srgbClr val="F26B43"/>
          </p15:clr>
        </p15:guide>
        <p15:guide id="5" orient="horz" pos="3185" userDrawn="1">
          <p15:clr>
            <a:srgbClr val="F26B43"/>
          </p15:clr>
        </p15:guide>
        <p15:guide id="6" orient="horz" pos="894" userDrawn="1">
          <p15:clr>
            <a:srgbClr val="F26B43"/>
          </p15:clr>
        </p15:guide>
        <p15:guide id="7" orient="horz" pos="29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2.tif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3.jpg"/><Relationship Id="rId5" Type="http://schemas.openxmlformats.org/officeDocument/2006/relationships/image" Target="../media/image20.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4.png"/><Relationship Id="rId1" Type="http://schemas.openxmlformats.org/officeDocument/2006/relationships/slideLayout" Target="../slideLayouts/slideLayout19.xml"/><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70.png"/><Relationship Id="rId1" Type="http://schemas.openxmlformats.org/officeDocument/2006/relationships/slideLayout" Target="../slideLayouts/slideLayout19.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71.png"/></Relationships>
</file>

<file path=ppt/slides/_rels/slide12.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2.png"/><Relationship Id="rId1" Type="http://schemas.openxmlformats.org/officeDocument/2006/relationships/slideLayout" Target="../slideLayouts/slideLayout19.xml"/><Relationship Id="rId4" Type="http://schemas.openxmlformats.org/officeDocument/2006/relationships/image" Target="../media/image74.jpeg"/></Relationships>
</file>

<file path=ppt/slides/_rels/slide13.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image" Target="../media/image38.jpeg"/><Relationship Id="rId1" Type="http://schemas.openxmlformats.org/officeDocument/2006/relationships/slideLayout" Target="../slideLayouts/slideLayout19.xml"/><Relationship Id="rId5" Type="http://schemas.openxmlformats.org/officeDocument/2006/relationships/image" Target="../media/image45.png"/><Relationship Id="rId4" Type="http://schemas.openxmlformats.org/officeDocument/2006/relationships/image" Target="../media/image44.jpg"/></Relationships>
</file>

<file path=ppt/slides/_rels/slide14.xml.rels><?xml version="1.0" encoding="UTF-8" standalone="yes"?>
<Relationships xmlns="http://schemas.openxmlformats.org/package/2006/relationships"><Relationship Id="rId8" Type="http://schemas.openxmlformats.org/officeDocument/2006/relationships/image" Target="cid:225501D2-211A-49CA-A039-9E15F5ED1FEF" TargetMode="External"/><Relationship Id="rId3" Type="http://schemas.openxmlformats.org/officeDocument/2006/relationships/image" Target="../media/image37.png"/><Relationship Id="rId7" Type="http://schemas.openxmlformats.org/officeDocument/2006/relationships/image" Target="../media/image48.png"/><Relationship Id="rId2" Type="http://schemas.openxmlformats.org/officeDocument/2006/relationships/image" Target="../media/image76.png"/><Relationship Id="rId1" Type="http://schemas.openxmlformats.org/officeDocument/2006/relationships/slideLayout" Target="../slideLayouts/slideLayout19.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15.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png"/><Relationship Id="rId1" Type="http://schemas.openxmlformats.org/officeDocument/2006/relationships/slideLayout" Target="../slideLayouts/slideLayout19.xml"/><Relationship Id="rId4" Type="http://schemas.openxmlformats.org/officeDocument/2006/relationships/image" Target="../media/image82.png"/></Relationships>
</file>

<file path=ppt/slides/_rels/slide2.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jpg"/><Relationship Id="rId18" Type="http://schemas.openxmlformats.org/officeDocument/2006/relationships/image" Target="cid:225501D2-211A-49CA-A039-9E15F5ED1FEF" TargetMode="External"/><Relationship Id="rId3" Type="http://schemas.openxmlformats.org/officeDocument/2006/relationships/image" Target="../media/image34.png"/><Relationship Id="rId7" Type="http://schemas.openxmlformats.org/officeDocument/2006/relationships/image" Target="../media/image38.jpe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image" Target="../media/image33.jpeg"/><Relationship Id="rId16" Type="http://schemas.openxmlformats.org/officeDocument/2006/relationships/image" Target="../media/image47.png"/><Relationship Id="rId20" Type="http://schemas.openxmlformats.org/officeDocument/2006/relationships/image" Target="cid:B9F84088-5679-4B38-8054-1C560F2475A3" TargetMode="External"/><Relationship Id="rId1" Type="http://schemas.openxmlformats.org/officeDocument/2006/relationships/slideLayout" Target="../slideLayouts/slideLayout21.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jpeg"/><Relationship Id="rId15" Type="http://schemas.openxmlformats.org/officeDocument/2006/relationships/image" Target="../media/image46.jpeg"/><Relationship Id="rId10" Type="http://schemas.openxmlformats.org/officeDocument/2006/relationships/image" Target="../media/image41.png"/><Relationship Id="rId19" Type="http://schemas.openxmlformats.org/officeDocument/2006/relationships/image" Target="../media/image49.png"/><Relationship Id="rId4" Type="http://schemas.openxmlformats.org/officeDocument/2006/relationships/image" Target="../media/image35.jpeg"/><Relationship Id="rId9" Type="http://schemas.openxmlformats.org/officeDocument/2006/relationships/image" Target="../media/image40.png"/><Relationship Id="rId14" Type="http://schemas.openxmlformats.org/officeDocument/2006/relationships/image" Target="../media/image45.png"/></Relationships>
</file>

<file path=ppt/slides/_rels/slide3.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59.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40.png"/><Relationship Id="rId2" Type="http://schemas.openxmlformats.org/officeDocument/2006/relationships/image" Target="../media/image50.png"/><Relationship Id="rId16" Type="http://schemas.openxmlformats.org/officeDocument/2006/relationships/image" Target="../media/image62.png"/><Relationship Id="rId1" Type="http://schemas.openxmlformats.org/officeDocument/2006/relationships/slideLayout" Target="../slideLayouts/slideLayout21.xml"/><Relationship Id="rId6" Type="http://schemas.openxmlformats.org/officeDocument/2006/relationships/image" Target="../media/image54.png"/><Relationship Id="rId11" Type="http://schemas.openxmlformats.org/officeDocument/2006/relationships/image" Target="../media/image42.png"/><Relationship Id="rId5" Type="http://schemas.openxmlformats.org/officeDocument/2006/relationships/image" Target="../media/image53.png"/><Relationship Id="rId15" Type="http://schemas.openxmlformats.org/officeDocument/2006/relationships/image" Target="../media/image61.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0.png"/></Relationships>
</file>

<file path=ppt/slides/_rels/slide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2.png"/><Relationship Id="rId1" Type="http://schemas.openxmlformats.org/officeDocument/2006/relationships/slideLayout" Target="../slideLayouts/slideLayout19.xml"/><Relationship Id="rId6" Type="http://schemas.openxmlformats.org/officeDocument/2006/relationships/image" Target="../media/image63.jpeg"/><Relationship Id="rId5" Type="http://schemas.openxmlformats.org/officeDocument/2006/relationships/image" Target="../media/image55.png"/><Relationship Id="rId4" Type="http://schemas.openxmlformats.org/officeDocument/2006/relationships/image" Target="../media/image54.png"/></Relationships>
</file>

<file path=ppt/slides/_rels/slide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56.png"/><Relationship Id="rId7" Type="http://schemas.openxmlformats.org/officeDocument/2006/relationships/image" Target="../media/image66.png"/><Relationship Id="rId2" Type="http://schemas.openxmlformats.org/officeDocument/2006/relationships/image" Target="../media/image64.png"/><Relationship Id="rId1" Type="http://schemas.openxmlformats.org/officeDocument/2006/relationships/slideLayout" Target="../slideLayouts/slideLayout19.xml"/><Relationship Id="rId6" Type="http://schemas.openxmlformats.org/officeDocument/2006/relationships/image" Target="cid:2__=4EBB03F6DFD12D308f9e8a93df938690918c4EBB03F6DFD12D30@polsat.com.pl" TargetMode="External"/><Relationship Id="rId5" Type="http://schemas.openxmlformats.org/officeDocument/2006/relationships/image" Target="../media/image65.jpeg"/><Relationship Id="rId4" Type="http://schemas.openxmlformats.org/officeDocument/2006/relationships/image" Target="../media/image53.pn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3.jpeg"/><Relationship Id="rId1" Type="http://schemas.openxmlformats.org/officeDocument/2006/relationships/slideLayout" Target="../slideLayouts/slideLayout19.xml"/><Relationship Id="rId4" Type="http://schemas.openxmlformats.org/officeDocument/2006/relationships/image" Target="../media/image68.png"/></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9.jpe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46.jpeg"/><Relationship Id="rId7" Type="http://schemas.openxmlformats.org/officeDocument/2006/relationships/image" Target="cid:225501D2-211A-49CA-A039-9E15F5ED1FEF" TargetMode="External"/><Relationship Id="rId2" Type="http://schemas.openxmlformats.org/officeDocument/2006/relationships/image" Target="../media/image36.jpeg"/><Relationship Id="rId1" Type="http://schemas.openxmlformats.org/officeDocument/2006/relationships/slideLayout" Target="../slideLayouts/slideLayout19.xml"/><Relationship Id="rId6" Type="http://schemas.openxmlformats.org/officeDocument/2006/relationships/image" Target="../media/image48.png"/><Relationship Id="rId5" Type="http://schemas.openxmlformats.org/officeDocument/2006/relationships/image" Target="cid:B9F84088-5679-4B38-8054-1C560F2475A3" TargetMode="External"/><Relationship Id="rId4"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91EF5C-EDA1-408F-A71D-1FF839425EBF}"/>
              </a:ext>
            </a:extLst>
          </p:cNvPr>
          <p:cNvGraphicFramePr>
            <a:graphicFrameLocks noChangeAspect="1"/>
          </p:cNvGraphicFramePr>
          <p:nvPr>
            <p:custDataLst>
              <p:tags r:id="rId1"/>
            </p:custDataLst>
            <p:extLst>
              <p:ext uri="{D42A27DB-BD31-4B8C-83A1-F6EECF244321}">
                <p14:modId xmlns:p14="http://schemas.microsoft.com/office/powerpoint/2010/main" val="189246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a:extLst>
                          <a:ext uri="{FF2B5EF4-FFF2-40B4-BE49-F238E27FC236}">
                            <a16:creationId xmlns:a16="http://schemas.microsoft.com/office/drawing/2014/main" id="{7D91EF5C-EDA1-408F-A71D-1FF839425E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F720E22-FC02-4EF2-9CEB-7A5D8002A94E}"/>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800" b="1" dirty="0">
              <a:latin typeface="Arial" panose="020B0604020202020204" pitchFamily="34" charset="0"/>
              <a:ea typeface="+mj-ea"/>
              <a:cs typeface="+mj-cs"/>
              <a:sym typeface="Arial" panose="020B0604020202020204" pitchFamily="34" charset="0"/>
            </a:endParaRPr>
          </a:p>
        </p:txBody>
      </p:sp>
      <p:pic>
        <p:nvPicPr>
          <p:cNvPr id="4" name="Picture Placeholder 3">
            <a:extLst>
              <a:ext uri="{FF2B5EF4-FFF2-40B4-BE49-F238E27FC236}">
                <a16:creationId xmlns:a16="http://schemas.microsoft.com/office/drawing/2014/main" id="{CDBD15C7-9B48-4EEB-8487-638A88AFCB44}"/>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a:stretch>
            <a:fillRect/>
          </a:stretch>
        </p:blipFill>
        <p:spPr/>
      </p:pic>
      <p:sp>
        <p:nvSpPr>
          <p:cNvPr id="17" name="Title 16">
            <a:extLst>
              <a:ext uri="{FF2B5EF4-FFF2-40B4-BE49-F238E27FC236}">
                <a16:creationId xmlns:a16="http://schemas.microsoft.com/office/drawing/2014/main" id="{FCCB9608-B3AF-4B4D-8ABA-ABDA03390650}"/>
              </a:ext>
            </a:extLst>
          </p:cNvPr>
          <p:cNvSpPr>
            <a:spLocks noGrp="1"/>
          </p:cNvSpPr>
          <p:nvPr>
            <p:ph type="ctrTitle"/>
          </p:nvPr>
        </p:nvSpPr>
        <p:spPr>
          <a:xfrm>
            <a:off x="0" y="0"/>
            <a:ext cx="9144000" cy="5143500"/>
          </a:xfrm>
        </p:spPr>
        <p:txBody>
          <a:bodyPr/>
          <a:lstStyle/>
          <a:p>
            <a:r>
              <a:rPr lang="en-US" dirty="0"/>
              <a:t>TV DISTRIBUTION:</a:t>
            </a:r>
            <a:br>
              <a:rPr lang="en-US" dirty="0"/>
            </a:br>
            <a:r>
              <a:rPr lang="en-US" dirty="0"/>
              <a:t>6 Hours of </a:t>
            </a:r>
            <a:br>
              <a:rPr lang="en-US" dirty="0"/>
            </a:br>
            <a:r>
              <a:rPr lang="en-US" dirty="0"/>
              <a:t>Portimão</a:t>
            </a:r>
            <a:endParaRPr lang="en-CH" dirty="0"/>
          </a:p>
        </p:txBody>
      </p:sp>
      <p:sp>
        <p:nvSpPr>
          <p:cNvPr id="18" name="Subtitle 17">
            <a:extLst>
              <a:ext uri="{FF2B5EF4-FFF2-40B4-BE49-F238E27FC236}">
                <a16:creationId xmlns:a16="http://schemas.microsoft.com/office/drawing/2014/main" id="{5FD756E5-EBBF-4E4A-BD7D-1C1CB4EC13EF}"/>
              </a:ext>
            </a:extLst>
          </p:cNvPr>
          <p:cNvSpPr>
            <a:spLocks noGrp="1"/>
          </p:cNvSpPr>
          <p:nvPr>
            <p:ph type="subTitle" idx="1"/>
          </p:nvPr>
        </p:nvSpPr>
        <p:spPr>
          <a:xfrm>
            <a:off x="900000" y="3968247"/>
            <a:ext cx="3672000" cy="764084"/>
          </a:xfrm>
        </p:spPr>
        <p:txBody>
          <a:bodyPr/>
          <a:lstStyle/>
          <a:p>
            <a:r>
              <a:rPr lang="en-US" baseline="30000" dirty="0"/>
              <a:t>16th</a:t>
            </a:r>
            <a:r>
              <a:rPr lang="en-US" dirty="0"/>
              <a:t> APRIL 2023</a:t>
            </a:r>
          </a:p>
          <a:p>
            <a:r>
              <a:rPr lang="en-US" dirty="0"/>
              <a:t>12:00 – 18:00 Local time</a:t>
            </a:r>
          </a:p>
        </p:txBody>
      </p:sp>
      <p:pic>
        <p:nvPicPr>
          <p:cNvPr id="12" name="Image 6">
            <a:extLst>
              <a:ext uri="{FF2B5EF4-FFF2-40B4-BE49-F238E27FC236}">
                <a16:creationId xmlns:a16="http://schemas.microsoft.com/office/drawing/2014/main" id="{D9612DA3-ED5C-4218-BB38-41ABE1FEE071}"/>
              </a:ext>
            </a:extLst>
          </p:cNvPr>
          <p:cNvPicPr>
            <a:picLocks noChangeAspect="1"/>
          </p:cNvPicPr>
          <p:nvPr/>
        </p:nvPicPr>
        <p:blipFill rotWithShape="1">
          <a:blip r:embed="rId7"/>
          <a:srcRect l="20967" t="27424" r="21358" b="31558"/>
          <a:stretch/>
        </p:blipFill>
        <p:spPr>
          <a:xfrm>
            <a:off x="900000" y="1435947"/>
            <a:ext cx="976848" cy="491494"/>
          </a:xfrm>
          <a:prstGeom prst="rect">
            <a:avLst/>
          </a:prstGeom>
          <a:solidFill>
            <a:schemeClr val="bg1"/>
          </a:solidFill>
        </p:spPr>
      </p:pic>
      <p:sp>
        <p:nvSpPr>
          <p:cNvPr id="10" name="Fußzeilenplatzhalter 3">
            <a:extLst>
              <a:ext uri="{FF2B5EF4-FFF2-40B4-BE49-F238E27FC236}">
                <a16:creationId xmlns:a16="http://schemas.microsoft.com/office/drawing/2014/main" id="{A53C416A-8F88-4787-8A63-36D7D14163B7}"/>
              </a:ext>
            </a:extLst>
          </p:cNvPr>
          <p:cNvSpPr>
            <a:spLocks noGrp="1"/>
          </p:cNvSpPr>
          <p:nvPr>
            <p:ph type="ftr" sz="quarter" idx="14"/>
          </p:nvPr>
        </p:nvSpPr>
        <p:spPr>
          <a:xfrm>
            <a:off x="5688463" y="119981"/>
            <a:ext cx="2232000" cy="180000"/>
          </a:xfrm>
        </p:spPr>
        <p:txBody>
          <a:bodyPr/>
          <a:lstStyle>
            <a:lvl1pPr>
              <a:defRPr>
                <a:solidFill>
                  <a:schemeClr val="bg1"/>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16610026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Pan-African, MENA and Other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0</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529120710"/>
              </p:ext>
            </p:extLst>
          </p:nvPr>
        </p:nvGraphicFramePr>
        <p:xfrm>
          <a:off x="412315" y="1247612"/>
          <a:ext cx="8463619" cy="208008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Sub-Saharan Afric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a:t>
                      </a:r>
                      <a:r>
                        <a:rPr lang="en-GB" sz="900" b="1" kern="1200">
                          <a:solidFill>
                            <a:schemeClr val="tx2"/>
                          </a:solidFill>
                          <a:latin typeface="Arial" charset="0"/>
                          <a:ea typeface="+mn-ea"/>
                          <a:cs typeface="+mn-cs"/>
                        </a:rPr>
                        <a:t>race live </a:t>
                      </a:r>
                      <a:r>
                        <a:rPr lang="en-GB" sz="900" b="1" kern="1200" dirty="0">
                          <a:solidFill>
                            <a:schemeClr val="tx2"/>
                          </a:solidFill>
                          <a:latin typeface="Arial" charset="0"/>
                          <a:ea typeface="+mn-ea"/>
                          <a:cs typeface="+mn-cs"/>
                        </a:rPr>
                        <a:t>on VR2 / VR2A and multiple repeats on MSP / MSPA 17/04 21:00, 18/04 06:00, 19/04 19:00, 21/04 10:00</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on 18/04 19:00 on MSP / MSPA (multiple repeats on 19/04</a:t>
                      </a:r>
                      <a:r>
                        <a:rPr lang="pl-PL" sz="900" b="1" kern="1200" dirty="0">
                          <a:solidFill>
                            <a:schemeClr val="accent6"/>
                          </a:solidFill>
                          <a:latin typeface="Arial" charset="0"/>
                          <a:ea typeface="+mn-ea"/>
                          <a:cs typeface="+mn-cs"/>
                        </a:rPr>
                        <a:t>, 2</a:t>
                      </a:r>
                      <a:r>
                        <a:rPr lang="en-GB" sz="900" b="1" kern="1200" dirty="0">
                          <a:solidFill>
                            <a:schemeClr val="accent6"/>
                          </a:solidFill>
                          <a:latin typeface="Arial" charset="0"/>
                          <a:ea typeface="+mn-ea"/>
                          <a:cs typeface="+mn-cs"/>
                        </a:rPr>
                        <a:t>0</a:t>
                      </a:r>
                      <a:r>
                        <a:rPr lang="pl-PL" sz="900" b="1" kern="1200" dirty="0">
                          <a:solidFill>
                            <a:schemeClr val="accent6"/>
                          </a:solidFill>
                          <a:latin typeface="Arial" charset="0"/>
                          <a:ea typeface="+mn-ea"/>
                          <a:cs typeface="+mn-cs"/>
                        </a:rPr>
                        <a:t>/0</a:t>
                      </a:r>
                      <a:r>
                        <a:rPr lang="en-GB" sz="900" b="1" kern="1200" dirty="0">
                          <a:solidFill>
                            <a:schemeClr val="accent6"/>
                          </a:solidFill>
                          <a:latin typeface="Arial" charset="0"/>
                          <a:ea typeface="+mn-ea"/>
                          <a:cs typeface="+mn-cs"/>
                        </a:rPr>
                        <a:t>4</a:t>
                      </a:r>
                      <a:r>
                        <a:rPr lang="pl-PL" sz="900" b="1" kern="1200" dirty="0">
                          <a:solidFill>
                            <a:schemeClr val="accent6"/>
                          </a:solidFill>
                          <a:latin typeface="Arial" charset="0"/>
                          <a:ea typeface="+mn-ea"/>
                          <a:cs typeface="+mn-cs"/>
                        </a:rPr>
                        <a:t>,</a:t>
                      </a:r>
                      <a:r>
                        <a:rPr lang="en-GB" sz="900" b="1" kern="1200" dirty="0">
                          <a:solidFill>
                            <a:schemeClr val="accent6"/>
                          </a:solidFill>
                          <a:latin typeface="Arial" charset="0"/>
                          <a:ea typeface="+mn-ea"/>
                          <a:cs typeface="+mn-cs"/>
                        </a:rPr>
                        <a:t> </a:t>
                      </a:r>
                      <a:r>
                        <a:rPr lang="pl-PL" sz="900" b="1" kern="1200" dirty="0">
                          <a:solidFill>
                            <a:schemeClr val="accent6"/>
                          </a:solidFill>
                          <a:latin typeface="Arial" charset="0"/>
                          <a:ea typeface="+mn-ea"/>
                          <a:cs typeface="+mn-cs"/>
                        </a:rPr>
                        <a:t>2</a:t>
                      </a:r>
                      <a:r>
                        <a:rPr lang="en-GB" sz="900" b="1" kern="1200" dirty="0">
                          <a:solidFill>
                            <a:schemeClr val="accent6"/>
                          </a:solidFill>
                          <a:latin typeface="Arial" charset="0"/>
                          <a:ea typeface="+mn-ea"/>
                          <a:cs typeface="+mn-cs"/>
                        </a:rPr>
                        <a:t>1/04</a:t>
                      </a:r>
                      <a:r>
                        <a:rPr lang="pl-PL" sz="900" b="1" kern="1200" dirty="0">
                          <a:solidFill>
                            <a:schemeClr val="accent6"/>
                          </a:solidFill>
                          <a:latin typeface="Arial" charset="0"/>
                          <a:ea typeface="+mn-ea"/>
                          <a:cs typeface="+mn-cs"/>
                        </a:rPr>
                        <a:t>, 2</a:t>
                      </a:r>
                      <a:r>
                        <a:rPr lang="en-GB" sz="900" b="1" kern="1200" dirty="0">
                          <a:solidFill>
                            <a:schemeClr val="accent6"/>
                          </a:solidFill>
                          <a:latin typeface="Arial" charset="0"/>
                          <a:ea typeface="+mn-ea"/>
                          <a:cs typeface="+mn-cs"/>
                        </a:rPr>
                        <a:t>2/04</a:t>
                      </a:r>
                      <a:r>
                        <a:rPr lang="pl-PL" sz="900" b="1" kern="1200" dirty="0">
                          <a:solidFill>
                            <a:schemeClr val="accent6"/>
                          </a:solidFill>
                          <a:latin typeface="Arial" charset="0"/>
                          <a:ea typeface="+mn-ea"/>
                          <a:cs typeface="+mn-cs"/>
                        </a:rPr>
                        <a:t>, 2</a:t>
                      </a:r>
                      <a:r>
                        <a:rPr lang="en-GB" sz="900" b="1" kern="1200" dirty="0">
                          <a:solidFill>
                            <a:schemeClr val="accent6"/>
                          </a:solidFill>
                          <a:latin typeface="Arial" charset="0"/>
                          <a:ea typeface="+mn-ea"/>
                          <a:cs typeface="+mn-cs"/>
                        </a:rPr>
                        <a:t>3/04</a:t>
                      </a:r>
                      <a:r>
                        <a:rPr lang="pl-PL" sz="900" b="1" kern="1200" dirty="0">
                          <a:solidFill>
                            <a:schemeClr val="accent6"/>
                          </a:solidFill>
                          <a:latin typeface="Arial" charset="0"/>
                          <a:ea typeface="+mn-ea"/>
                          <a:cs typeface="+mn-cs"/>
                        </a:rPr>
                        <a:t>, </a:t>
                      </a:r>
                      <a:r>
                        <a:rPr lang="en-GB" sz="900" b="1" kern="1200" dirty="0">
                          <a:solidFill>
                            <a:schemeClr val="accent6"/>
                          </a:solidFill>
                          <a:latin typeface="Arial" charset="0"/>
                          <a:ea typeface="+mn-ea"/>
                          <a:cs typeface="+mn-cs"/>
                        </a:rPr>
                        <a:t>24/04</a:t>
                      </a:r>
                      <a:r>
                        <a:rPr lang="pl-PL" sz="900" b="1" kern="1200" dirty="0">
                          <a:solidFill>
                            <a:schemeClr val="accent6"/>
                          </a:solidFill>
                          <a:latin typeface="Arial" charset="0"/>
                          <a:ea typeface="+mn-ea"/>
                          <a:cs typeface="+mn-cs"/>
                        </a:rPr>
                        <a:t>, </a:t>
                      </a:r>
                      <a:r>
                        <a:rPr lang="en-GB" sz="900" b="1" kern="1200" dirty="0">
                          <a:solidFill>
                            <a:schemeClr val="accent6"/>
                          </a:solidFill>
                          <a:latin typeface="Arial" charset="0"/>
                          <a:ea typeface="+mn-ea"/>
                          <a:cs typeface="+mn-cs"/>
                        </a:rPr>
                        <a:t>25/04, 26/04)</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n-ME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24056025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dk1"/>
                          </a:solidFill>
                          <a:latin typeface="+mn-lt"/>
                          <a:ea typeface="+mn-ea"/>
                          <a:cs typeface="+mn-cs"/>
                        </a:rPr>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0" dirty="0">
                        <a:solidFill>
                          <a:schemeClr val="accent4"/>
                        </a:solidFill>
                        <a:latin typeface="Arial"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817426768"/>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3" name="Picture 2">
            <a:extLst>
              <a:ext uri="{FF2B5EF4-FFF2-40B4-BE49-F238E27FC236}">
                <a16:creationId xmlns:a16="http://schemas.microsoft.com/office/drawing/2014/main" id="{5B867C61-31C8-4DF9-BEF1-99C35D12D8E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9254" y="1679612"/>
            <a:ext cx="694354" cy="304831"/>
          </a:xfrm>
          <a:prstGeom prst="rect">
            <a:avLst/>
          </a:prstGeom>
          <a:solidFill>
            <a:schemeClr val="bg1"/>
          </a:solidFill>
          <a:ln w="9525">
            <a:solidFill>
              <a:schemeClr val="tx1"/>
            </a:solidFill>
            <a:miter lim="800000"/>
            <a:headEnd/>
            <a:tailEnd/>
          </a:ln>
        </p:spPr>
      </p:pic>
      <p:pic>
        <p:nvPicPr>
          <p:cNvPr id="11" name="Picture 30">
            <a:extLst>
              <a:ext uri="{FF2B5EF4-FFF2-40B4-BE49-F238E27FC236}">
                <a16:creationId xmlns:a16="http://schemas.microsoft.com/office/drawing/2014/main" id="{8350C993-0FE6-4F4F-AF93-A86739D74A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362" y="2933986"/>
            <a:ext cx="1159516" cy="158916"/>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14" name="Picture 623" descr="Saudi Sports Company - Wikipedia">
            <a:extLst>
              <a:ext uri="{FF2B5EF4-FFF2-40B4-BE49-F238E27FC236}">
                <a16:creationId xmlns:a16="http://schemas.microsoft.com/office/drawing/2014/main" id="{3C0E4C5D-C8EF-4207-B0E2-BDF5AD93D11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4164" b="31031"/>
          <a:stretch/>
        </p:blipFill>
        <p:spPr bwMode="auto">
          <a:xfrm>
            <a:off x="625725" y="2362542"/>
            <a:ext cx="798818" cy="2535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26522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1</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2587762222"/>
              </p:ext>
            </p:extLst>
          </p:nvPr>
        </p:nvGraphicFramePr>
        <p:xfrm>
          <a:off x="412315" y="1247612"/>
          <a:ext cx="8463619" cy="3060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Austr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Belgiu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ication and full race live 12:45-17:15 on RTBF </a:t>
                      </a:r>
                      <a:r>
                        <a:rPr lang="en-GB" sz="900" b="1" kern="1200" dirty="0" err="1">
                          <a:solidFill>
                            <a:schemeClr val="tx2"/>
                          </a:solidFill>
                          <a:latin typeface="Arial" charset="0"/>
                          <a:ea typeface="+mn-ea"/>
                          <a:cs typeface="+mn-cs"/>
                        </a:rPr>
                        <a:t>auvio</a:t>
                      </a:r>
                      <a:endParaRPr lang="en-GB" sz="900" b="1" kern="1200" dirty="0">
                        <a:solidFill>
                          <a:schemeClr val="tx2"/>
                        </a:solidFill>
                        <a:latin typeface="Arial"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date/time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26994600"/>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Denmark</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r>
                        <a:rPr lang="en-GB" sz="900" b="1" kern="1200" dirty="0">
                          <a:solidFill>
                            <a:schemeClr val="tx2"/>
                          </a:solidFill>
                          <a:latin typeface="Arial" charset="0"/>
                          <a:ea typeface="+mn-ea"/>
                          <a:cs typeface="+mn-cs"/>
                        </a:rPr>
                        <a:t>Full race live on TV 2 PLAY 13:00 – 19:00 (</a:t>
                      </a:r>
                      <a:r>
                        <a:rPr lang="en-GB" sz="900" b="1" kern="1200" dirty="0" err="1">
                          <a:solidFill>
                            <a:schemeClr val="tx2"/>
                          </a:solidFill>
                          <a:latin typeface="Arial" charset="0"/>
                          <a:ea typeface="+mn-ea"/>
                          <a:cs typeface="+mn-cs"/>
                        </a:rPr>
                        <a:t>Eng</a:t>
                      </a:r>
                      <a:r>
                        <a:rPr lang="en-GB" sz="900" b="1" kern="1200" dirty="0">
                          <a:solidFill>
                            <a:schemeClr val="tx2"/>
                          </a:solidFill>
                          <a:latin typeface="Arial" charset="0"/>
                          <a:ea typeface="+mn-ea"/>
                          <a:cs typeface="+mn-cs"/>
                        </a:rPr>
                        <a:t> Commentary)</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Last two hours 17:00 – 19:00 also available with Danish Commentar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5104177"/>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l</a:t>
                      </a:r>
                      <a:r>
                        <a:rPr lang="fr-FR" sz="900" b="1" kern="1200" dirty="0">
                          <a:solidFill>
                            <a:schemeClr val="tx2"/>
                          </a:solidFill>
                          <a:latin typeface="Arial" charset="0"/>
                          <a:ea typeface="+mn-ea"/>
                          <a:cs typeface="+mn-cs"/>
                        </a:rPr>
                        <a:t>equipe.fr </a:t>
                      </a: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85143989"/>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Fin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667546793"/>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9" name="Picture 825">
            <a:extLst>
              <a:ext uri="{FF2B5EF4-FFF2-40B4-BE49-F238E27FC236}">
                <a16:creationId xmlns:a16="http://schemas.microsoft.com/office/drawing/2014/main" id="{32B5A67B-04F0-4D4F-ACE4-CA724E396D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816" y="1753700"/>
            <a:ext cx="983009" cy="16912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48F07459-2666-4E6E-8731-CF438FFD04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795" y="2202466"/>
            <a:ext cx="719778" cy="404299"/>
          </a:xfrm>
          <a:prstGeom prst="rect">
            <a:avLst/>
          </a:prstGeom>
          <a:solidFill>
            <a:schemeClr val="bg1"/>
          </a:solidFill>
        </p:spPr>
      </p:pic>
      <p:pic>
        <p:nvPicPr>
          <p:cNvPr id="33" name="Picture 120">
            <a:extLst>
              <a:ext uri="{FF2B5EF4-FFF2-40B4-BE49-F238E27FC236}">
                <a16:creationId xmlns:a16="http://schemas.microsoft.com/office/drawing/2014/main" id="{EB71F428-FB12-4163-87A8-041FA5D281C5}"/>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469626" y="3404336"/>
            <a:ext cx="1145388" cy="170942"/>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53250" name="Picture 2" descr="C More Entertainment - Wikiwand">
            <a:extLst>
              <a:ext uri="{FF2B5EF4-FFF2-40B4-BE49-F238E27FC236}">
                <a16:creationId xmlns:a16="http://schemas.microsoft.com/office/drawing/2014/main" id="{AC543214-2CD6-4D4A-9CD5-78720D40D7A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1733" t="25384" r="12267" b="29829"/>
          <a:stretch/>
        </p:blipFill>
        <p:spPr bwMode="auto">
          <a:xfrm>
            <a:off x="552089" y="3918660"/>
            <a:ext cx="993758" cy="22839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Logo&#10;&#10;Description automatically generated">
            <a:extLst>
              <a:ext uri="{FF2B5EF4-FFF2-40B4-BE49-F238E27FC236}">
                <a16:creationId xmlns:a16="http://schemas.microsoft.com/office/drawing/2014/main" id="{F95B6A1E-B9D0-D203-EF17-38C1D70D47D7}"/>
              </a:ext>
            </a:extLst>
          </p:cNvPr>
          <p:cNvPicPr>
            <a:picLocks noChangeAspect="1"/>
          </p:cNvPicPr>
          <p:nvPr/>
        </p:nvPicPr>
        <p:blipFill>
          <a:blip r:embed="rId6"/>
          <a:stretch>
            <a:fillRect/>
          </a:stretch>
        </p:blipFill>
        <p:spPr>
          <a:xfrm>
            <a:off x="809182" y="2754663"/>
            <a:ext cx="390968" cy="390968"/>
          </a:xfrm>
          <a:prstGeom prst="rect">
            <a:avLst/>
          </a:prstGeom>
        </p:spPr>
      </p:pic>
    </p:spTree>
    <p:extLst>
      <p:ext uri="{BB962C8B-B14F-4D97-AF65-F5344CB8AC3E}">
        <p14:creationId xmlns:p14="http://schemas.microsoft.com/office/powerpoint/2010/main" val="38149264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Europe</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2</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608279515"/>
              </p:ext>
            </p:extLst>
          </p:nvPr>
        </p:nvGraphicFramePr>
        <p:xfrm>
          <a:off x="412315" y="1247612"/>
          <a:ext cx="8463619" cy="2016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German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RT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6503568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German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a:t>
                      </a:r>
                      <a:r>
                        <a:rPr lang="en-GB" sz="900" b="1" kern="1200">
                          <a:solidFill>
                            <a:schemeClr val="tx2"/>
                          </a:solidFill>
                          <a:latin typeface="Arial" charset="0"/>
                          <a:ea typeface="+mn-ea"/>
                          <a:cs typeface="+mn-cs"/>
                        </a:rPr>
                        <a:t>on sport</a:t>
                      </a:r>
                      <a:r>
                        <a:rPr lang="en-GB" sz="900" b="1" kern="1200" dirty="0">
                          <a:solidFill>
                            <a:schemeClr val="tx2"/>
                          </a:solidFill>
                          <a:latin typeface="Arial" charset="0"/>
                          <a:ea typeface="+mn-ea"/>
                          <a:cs typeface="+mn-cs"/>
                        </a:rPr>
                        <a:t>.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Netherlands &amp; Luxembourg</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videoland 12:50 - 19:2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9" name="Picture 608">
            <a:extLst>
              <a:ext uri="{FF2B5EF4-FFF2-40B4-BE49-F238E27FC236}">
                <a16:creationId xmlns:a16="http://schemas.microsoft.com/office/drawing/2014/main" id="{A004BE1C-FC2D-4065-B021-480ECFB2E1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729" y="2880566"/>
            <a:ext cx="1127171" cy="263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a:extLst>
              <a:ext uri="{FF2B5EF4-FFF2-40B4-BE49-F238E27FC236}">
                <a16:creationId xmlns:a16="http://schemas.microsoft.com/office/drawing/2014/main" id="{4F82E974-2729-460F-8B4D-CCBDE0E89DEC}"/>
              </a:ext>
            </a:extLst>
          </p:cNvPr>
          <p:cNvPicPr>
            <a:picLocks noChangeAspect="1"/>
          </p:cNvPicPr>
          <p:nvPr/>
        </p:nvPicPr>
        <p:blipFill>
          <a:blip r:embed="rId3"/>
          <a:stretch>
            <a:fillRect/>
          </a:stretch>
        </p:blipFill>
        <p:spPr>
          <a:xfrm>
            <a:off x="452374" y="2311132"/>
            <a:ext cx="1175526" cy="226753"/>
          </a:xfrm>
          <a:prstGeom prst="rect">
            <a:avLst/>
          </a:prstGeom>
        </p:spPr>
      </p:pic>
      <p:pic>
        <p:nvPicPr>
          <p:cNvPr id="15" name="Picture 158" descr="RTL+ Angebote - JETZT: 1 Monat kostenlos - PREMIUM 4,99€">
            <a:extLst>
              <a:ext uri="{FF2B5EF4-FFF2-40B4-BE49-F238E27FC236}">
                <a16:creationId xmlns:a16="http://schemas.microsoft.com/office/drawing/2014/main" id="{770F8BCA-1F61-4E9D-A1D2-B01838ACDF6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80" r="2996" b="51150"/>
          <a:stretch/>
        </p:blipFill>
        <p:spPr bwMode="auto">
          <a:xfrm>
            <a:off x="435919" y="1743193"/>
            <a:ext cx="1208436" cy="200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48085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Asia-Pacific</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3</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3902038482"/>
              </p:ext>
            </p:extLst>
          </p:nvPr>
        </p:nvGraphicFramePr>
        <p:xfrm>
          <a:off x="412315" y="1247612"/>
          <a:ext cx="8463619" cy="2556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Austral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Qualification and Free Practice Liv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6503568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Chi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Chi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Indones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J Sports On Dem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35104177"/>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32" name="Picture 484" descr="KUY Entertainment - YouTube">
            <a:extLst>
              <a:ext uri="{FF2B5EF4-FFF2-40B4-BE49-F238E27FC236}">
                <a16:creationId xmlns:a16="http://schemas.microsoft.com/office/drawing/2014/main" id="{D6D357BE-68D6-42DA-B597-0C5D6AABBE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5866" t="21002" r="16211" b="22551"/>
          <a:stretch>
            <a:fillRect/>
          </a:stretch>
        </p:blipFill>
        <p:spPr bwMode="auto">
          <a:xfrm>
            <a:off x="876809" y="2777415"/>
            <a:ext cx="354671" cy="294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2BB4130B-D478-421F-AB89-F9AFEC78D6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328" y="3358339"/>
            <a:ext cx="769703" cy="274784"/>
          </a:xfrm>
          <a:prstGeom prst="rect">
            <a:avLst/>
          </a:prstGeom>
        </p:spPr>
      </p:pic>
      <p:pic>
        <p:nvPicPr>
          <p:cNvPr id="22" name="Picture 21">
            <a:extLst>
              <a:ext uri="{FF2B5EF4-FFF2-40B4-BE49-F238E27FC236}">
                <a16:creationId xmlns:a16="http://schemas.microsoft.com/office/drawing/2014/main" id="{6AF40DFA-C132-4EE6-8D74-177BC66C993D}"/>
              </a:ext>
            </a:extLst>
          </p:cNvPr>
          <p:cNvPicPr>
            <a:picLocks noChangeAspect="1"/>
          </p:cNvPicPr>
          <p:nvPr/>
        </p:nvPicPr>
        <p:blipFill>
          <a:blip r:embed="rId4"/>
          <a:stretch>
            <a:fillRect/>
          </a:stretch>
        </p:blipFill>
        <p:spPr>
          <a:xfrm>
            <a:off x="747086" y="1617882"/>
            <a:ext cx="648000" cy="364500"/>
          </a:xfrm>
          <a:prstGeom prst="rect">
            <a:avLst/>
          </a:prstGeom>
        </p:spPr>
      </p:pic>
      <p:pic>
        <p:nvPicPr>
          <p:cNvPr id="15" name="Picture 2" descr="DOUYIN: The new Chinese propaganda machine – Mass Media and Culture">
            <a:extLst>
              <a:ext uri="{FF2B5EF4-FFF2-40B4-BE49-F238E27FC236}">
                <a16:creationId xmlns:a16="http://schemas.microsoft.com/office/drawing/2014/main" id="{F433059F-8B07-4EE8-8455-319B74A019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3243" t="32722" r="12581" b="32398"/>
          <a:stretch/>
        </p:blipFill>
        <p:spPr bwMode="auto">
          <a:xfrm>
            <a:off x="747086" y="2224487"/>
            <a:ext cx="585698" cy="27541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4E8AC30-1D01-490E-B18E-F7B72E0386C5}"/>
              </a:ext>
            </a:extLst>
          </p:cNvPr>
          <p:cNvSpPr txBox="1"/>
          <p:nvPr/>
        </p:nvSpPr>
        <p:spPr>
          <a:xfrm>
            <a:off x="659328" y="3098641"/>
            <a:ext cx="792479" cy="107722"/>
          </a:xfrm>
          <a:prstGeom prst="rect">
            <a:avLst/>
          </a:prstGeom>
          <a:noFill/>
        </p:spPr>
        <p:txBody>
          <a:bodyPr wrap="square" lIns="0" tIns="0" rIns="0" bIns="0" rtlCol="0">
            <a:spAutoFit/>
          </a:bodyPr>
          <a:lstStyle/>
          <a:p>
            <a:pPr algn="l"/>
            <a:r>
              <a:rPr lang="en-GB" sz="700" dirty="0">
                <a:solidFill>
                  <a:schemeClr val="tx1"/>
                </a:solidFill>
                <a:latin typeface="Arial" charset="0"/>
              </a:rPr>
              <a:t>KUY Entertainment</a:t>
            </a:r>
            <a:endParaRPr lang="en-GB" sz="1100" b="1" dirty="0"/>
          </a:p>
        </p:txBody>
      </p:sp>
      <p:sp>
        <p:nvSpPr>
          <p:cNvPr id="19" name="TextBox 18">
            <a:extLst>
              <a:ext uri="{FF2B5EF4-FFF2-40B4-BE49-F238E27FC236}">
                <a16:creationId xmlns:a16="http://schemas.microsoft.com/office/drawing/2014/main" id="{88CDBB75-62E3-4394-9244-A06B49AEAE1F}"/>
              </a:ext>
            </a:extLst>
          </p:cNvPr>
          <p:cNvSpPr txBox="1"/>
          <p:nvPr/>
        </p:nvSpPr>
        <p:spPr>
          <a:xfrm>
            <a:off x="954601" y="2540725"/>
            <a:ext cx="354672" cy="107722"/>
          </a:xfrm>
          <a:prstGeom prst="rect">
            <a:avLst/>
          </a:prstGeom>
          <a:noFill/>
        </p:spPr>
        <p:txBody>
          <a:bodyPr wrap="square" lIns="0" tIns="0" rIns="0" bIns="0" rtlCol="0">
            <a:spAutoFit/>
          </a:bodyPr>
          <a:lstStyle/>
          <a:p>
            <a:pPr algn="l"/>
            <a:r>
              <a:rPr lang="en-GB" sz="700" dirty="0" err="1">
                <a:solidFill>
                  <a:schemeClr val="tx1"/>
                </a:solidFill>
                <a:latin typeface="Arial" charset="0"/>
              </a:rPr>
              <a:t>Douyin</a:t>
            </a:r>
            <a:endParaRPr lang="en-GB" sz="1100" b="1" dirty="0"/>
          </a:p>
        </p:txBody>
      </p:sp>
    </p:spTree>
    <p:extLst>
      <p:ext uri="{BB962C8B-B14F-4D97-AF65-F5344CB8AC3E}">
        <p14:creationId xmlns:p14="http://schemas.microsoft.com/office/powerpoint/2010/main" val="25220116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Pan-regional</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4</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972899020"/>
              </p:ext>
            </p:extLst>
          </p:nvPr>
        </p:nvGraphicFramePr>
        <p:xfrm>
          <a:off x="412315" y="1247612"/>
          <a:ext cx="8463619" cy="380808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kern="1200" dirty="0">
                          <a:solidFill>
                            <a:schemeClr val="tx1"/>
                          </a:solidFill>
                          <a:latin typeface="Arial" charset="0"/>
                          <a:ea typeface="+mn-ea"/>
                          <a:cs typeface="+mn-cs"/>
                        </a:rPr>
                        <a:t>Canada &amp; US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ication and full race liv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47307987"/>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France, Spain, Romania, other Pan-European and Pan-Asian Territori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ree Practice live 15/04 12:50, Qualification live 15/04 20:50 </a:t>
                      </a:r>
                      <a:br>
                        <a:rPr lang="en-GB" sz="900" b="1" kern="1200" dirty="0">
                          <a:solidFill>
                            <a:schemeClr val="accent6"/>
                          </a:solidFill>
                          <a:latin typeface="Arial" charset="0"/>
                          <a:ea typeface="+mn-ea"/>
                          <a:cs typeface="+mn-cs"/>
                        </a:rPr>
                      </a:br>
                      <a:r>
                        <a:rPr lang="en-GB" sz="900" b="1" kern="1200" dirty="0">
                          <a:solidFill>
                            <a:schemeClr val="tx2"/>
                          </a:solidFill>
                          <a:latin typeface="Arial" charset="0"/>
                          <a:ea typeface="+mn-ea"/>
                          <a:cs typeface="+mn-cs"/>
                        </a:rPr>
                        <a:t>Race live 12:30 – 14:00 and 15:30 – 19:30 </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18/4 23:45</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5461762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kern="1200" dirty="0">
                          <a:solidFill>
                            <a:schemeClr val="dk1"/>
                          </a:solidFill>
                          <a:latin typeface="+mn-lt"/>
                          <a:ea typeface="+mn-ea"/>
                          <a:cs typeface="+mn-cs"/>
                        </a:rPr>
                        <a:t>Po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ree Practice live 15/04 12:50, Qualification live 15/04 20:50 </a:t>
                      </a:r>
                      <a:br>
                        <a:rPr lang="en-GB" sz="900" b="1" kern="1200" dirty="0">
                          <a:solidFill>
                            <a:schemeClr val="accent6"/>
                          </a:solidFill>
                          <a:latin typeface="Arial" charset="0"/>
                          <a:ea typeface="+mn-ea"/>
                          <a:cs typeface="+mn-cs"/>
                        </a:rPr>
                      </a:br>
                      <a:r>
                        <a:rPr lang="en-GB" sz="900" b="1" kern="1200" dirty="0">
                          <a:solidFill>
                            <a:schemeClr val="tx2"/>
                          </a:solidFill>
                          <a:latin typeface="Arial" charset="0"/>
                          <a:ea typeface="+mn-ea"/>
                          <a:cs typeface="+mn-cs"/>
                        </a:rPr>
                        <a:t>Race live 12:30 – 14:00 and 15:30 – 19:30 </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18/4 23:45</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06983367"/>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900" kern="1200" dirty="0">
                          <a:solidFill>
                            <a:schemeClr val="dk1"/>
                          </a:solidFill>
                          <a:latin typeface="+mn-lt"/>
                          <a:ea typeface="+mn-ea"/>
                          <a:cs typeface="+mn-cs"/>
                        </a:rPr>
                        <a:t>United Kingdom, Germany, </a:t>
                      </a:r>
                      <a:r>
                        <a:rPr lang="it-IT" sz="900" kern="1200" dirty="0" err="1">
                          <a:solidFill>
                            <a:schemeClr val="dk1"/>
                          </a:solidFill>
                          <a:latin typeface="+mn-lt"/>
                          <a:ea typeface="+mn-ea"/>
                          <a:cs typeface="+mn-cs"/>
                        </a:rPr>
                        <a:t>Denmark</a:t>
                      </a:r>
                      <a:r>
                        <a:rPr lang="it-IT" sz="900" kern="1200" dirty="0">
                          <a:solidFill>
                            <a:schemeClr val="dk1"/>
                          </a:solidFill>
                          <a:latin typeface="+mn-lt"/>
                          <a:ea typeface="+mn-ea"/>
                          <a:cs typeface="+mn-cs"/>
                        </a:rPr>
                        <a:t>, Sweden, </a:t>
                      </a:r>
                      <a:r>
                        <a:rPr lang="it-IT" sz="900" kern="1200" dirty="0" err="1">
                          <a:solidFill>
                            <a:schemeClr val="dk1"/>
                          </a:solidFill>
                          <a:latin typeface="+mn-lt"/>
                          <a:ea typeface="+mn-ea"/>
                          <a:cs typeface="+mn-cs"/>
                        </a:rPr>
                        <a:t>Norway</a:t>
                      </a:r>
                      <a:r>
                        <a:rPr lang="it-IT" sz="900" kern="1200" dirty="0">
                          <a:solidFill>
                            <a:schemeClr val="dk1"/>
                          </a:solidFill>
                          <a:latin typeface="+mn-lt"/>
                          <a:ea typeface="+mn-ea"/>
                          <a:cs typeface="+mn-cs"/>
                        </a:rPr>
                        <a:t>, </a:t>
                      </a:r>
                      <a:r>
                        <a:rPr lang="it-IT" sz="900" kern="1200" dirty="0" err="1">
                          <a:solidFill>
                            <a:schemeClr val="dk1"/>
                          </a:solidFill>
                          <a:latin typeface="+mn-lt"/>
                          <a:ea typeface="+mn-ea"/>
                          <a:cs typeface="+mn-cs"/>
                        </a:rPr>
                        <a:t>Finland</a:t>
                      </a:r>
                      <a:r>
                        <a:rPr lang="it-IT" sz="900" kern="1200" dirty="0">
                          <a:solidFill>
                            <a:schemeClr val="dk1"/>
                          </a:solidFill>
                          <a:latin typeface="+mn-lt"/>
                          <a:ea typeface="+mn-ea"/>
                          <a:cs typeface="+mn-cs"/>
                        </a:rPr>
                        <a:t>, Netherlands, </a:t>
                      </a:r>
                      <a:r>
                        <a:rPr lang="it-IT" sz="900" kern="1200" dirty="0" err="1">
                          <a:solidFill>
                            <a:schemeClr val="dk1"/>
                          </a:solidFill>
                          <a:latin typeface="+mn-lt"/>
                          <a:ea typeface="+mn-ea"/>
                          <a:cs typeface="+mn-cs"/>
                        </a:rPr>
                        <a:t>Italy</a:t>
                      </a:r>
                      <a:r>
                        <a:rPr lang="it-IT" sz="900" kern="1200" dirty="0">
                          <a:solidFill>
                            <a:schemeClr val="dk1"/>
                          </a:solidFill>
                          <a:latin typeface="+mn-lt"/>
                          <a:ea typeface="+mn-ea"/>
                          <a:cs typeface="+mn-cs"/>
                        </a:rPr>
                        <a:t> and </a:t>
                      </a:r>
                      <a:r>
                        <a:rPr lang="it-IT" sz="900" kern="1200" dirty="0" err="1">
                          <a:solidFill>
                            <a:schemeClr val="dk1"/>
                          </a:solidFill>
                          <a:latin typeface="+mn-lt"/>
                          <a:ea typeface="+mn-ea"/>
                          <a:cs typeface="+mn-cs"/>
                        </a:rPr>
                        <a:t>Indian</a:t>
                      </a:r>
                      <a:r>
                        <a:rPr lang="it-IT" sz="900" kern="1200" dirty="0">
                          <a:solidFill>
                            <a:schemeClr val="dk1"/>
                          </a:solidFill>
                          <a:latin typeface="+mn-lt"/>
                          <a:ea typeface="+mn-ea"/>
                          <a:cs typeface="+mn-cs"/>
                        </a:rPr>
                        <a:t> </a:t>
                      </a:r>
                      <a:r>
                        <a:rPr lang="it-IT" sz="900" kern="1200" dirty="0" err="1">
                          <a:solidFill>
                            <a:schemeClr val="dk1"/>
                          </a:solidFill>
                          <a:latin typeface="+mn-lt"/>
                          <a:ea typeface="+mn-ea"/>
                          <a:cs typeface="+mn-cs"/>
                        </a:rPr>
                        <a:t>Subcontinent</a:t>
                      </a:r>
                      <a:endParaRPr lang="en-GB" sz="900" kern="1200" dirty="0">
                        <a:solidFill>
                          <a:schemeClr val="dk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ree Practice live 15/04 12:50, Qualification live 15/04 20:50 </a:t>
                      </a:r>
                      <a:br>
                        <a:rPr lang="en-GB" sz="900" b="1" kern="1200" dirty="0">
                          <a:solidFill>
                            <a:schemeClr val="accent6"/>
                          </a:solidFill>
                          <a:latin typeface="Arial" charset="0"/>
                          <a:ea typeface="+mn-ea"/>
                          <a:cs typeface="+mn-cs"/>
                        </a:rPr>
                      </a:br>
                      <a:r>
                        <a:rPr lang="en-GB" sz="900" b="1" kern="1200" dirty="0">
                          <a:solidFill>
                            <a:schemeClr val="tx2"/>
                          </a:solidFill>
                          <a:latin typeface="Arial" charset="0"/>
                          <a:ea typeface="+mn-ea"/>
                          <a:cs typeface="+mn-cs"/>
                        </a:rPr>
                        <a:t>Race live 12:30 – 14:00 and 15:30 – 19:30 </a:t>
                      </a:r>
                      <a:endParaRPr lang="en-GB" sz="900" b="1" kern="1200" dirty="0">
                        <a:solidFill>
                          <a:schemeClr val="accent6"/>
                        </a:solidFill>
                        <a:latin typeface="Arial"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8/4 23:45</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048031735"/>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Central &amp; South America Caribbean (excl. Mexico &amp; Brazi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48037329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IA WEC Official App</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73838280"/>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20" name="Picture 19">
            <a:extLst>
              <a:ext uri="{FF2B5EF4-FFF2-40B4-BE49-F238E27FC236}">
                <a16:creationId xmlns:a16="http://schemas.microsoft.com/office/drawing/2014/main" id="{3D1533F5-9130-40F9-B6F6-E676212CF1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7650" y="4558474"/>
            <a:ext cx="431971" cy="425973"/>
          </a:xfrm>
          <a:prstGeom prst="rect">
            <a:avLst/>
          </a:prstGeom>
          <a:solidFill>
            <a:schemeClr val="bg1"/>
          </a:solidFill>
        </p:spPr>
      </p:pic>
      <p:pic>
        <p:nvPicPr>
          <p:cNvPr id="13" name="Picture 3">
            <a:extLst>
              <a:ext uri="{FF2B5EF4-FFF2-40B4-BE49-F238E27FC236}">
                <a16:creationId xmlns:a16="http://schemas.microsoft.com/office/drawing/2014/main" id="{1FE4364A-FF40-4AF1-B080-415E038611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51" t="8424" r="1495" b="16240"/>
          <a:stretch>
            <a:fillRect/>
          </a:stretch>
        </p:blipFill>
        <p:spPr bwMode="auto">
          <a:xfrm>
            <a:off x="476249" y="1685832"/>
            <a:ext cx="1022882" cy="281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descr="Image result for eurosport player logo">
            <a:extLst>
              <a:ext uri="{FF2B5EF4-FFF2-40B4-BE49-F238E27FC236}">
                <a16:creationId xmlns:a16="http://schemas.microsoft.com/office/drawing/2014/main" id="{6357ECDD-3112-4C8D-B03C-E255297E329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379" y="2312522"/>
            <a:ext cx="997498" cy="195588"/>
          </a:xfrm>
          <a:prstGeom prst="rect">
            <a:avLst/>
          </a:prstGeom>
          <a:solidFill>
            <a:schemeClr val="bg1"/>
          </a:solidFill>
        </p:spPr>
      </p:pic>
      <p:pic>
        <p:nvPicPr>
          <p:cNvPr id="52226" name="Picture 2">
            <a:extLst>
              <a:ext uri="{FF2B5EF4-FFF2-40B4-BE49-F238E27FC236}">
                <a16:creationId xmlns:a16="http://schemas.microsoft.com/office/drawing/2014/main" id="{95F2E6D1-A545-4CFF-A6FE-EA594BCA495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5491" y="3437084"/>
            <a:ext cx="1036293" cy="20851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AACEE25E-2854-04AC-C6F2-B1E171415DC4}"/>
              </a:ext>
            </a:extLst>
          </p:cNvPr>
          <p:cNvPicPr>
            <a:picLocks noChangeAspect="1"/>
          </p:cNvPicPr>
          <p:nvPr/>
        </p:nvPicPr>
        <p:blipFill>
          <a:blip r:embed="rId6"/>
          <a:stretch>
            <a:fillRect/>
          </a:stretch>
        </p:blipFill>
        <p:spPr>
          <a:xfrm>
            <a:off x="440169" y="2906787"/>
            <a:ext cx="1206935" cy="98644"/>
          </a:xfrm>
          <a:prstGeom prst="rect">
            <a:avLst/>
          </a:prstGeom>
        </p:spPr>
      </p:pic>
      <p:pic>
        <p:nvPicPr>
          <p:cNvPr id="16" name="Picture 15">
            <a:extLst>
              <a:ext uri="{FF2B5EF4-FFF2-40B4-BE49-F238E27FC236}">
                <a16:creationId xmlns:a16="http://schemas.microsoft.com/office/drawing/2014/main" id="{7485403E-BA30-98C6-CBE4-E4EE385BBE00}"/>
              </a:ext>
            </a:extLst>
          </p:cNvPr>
          <p:cNvPicPr>
            <a:picLocks noChangeAspect="1"/>
          </p:cNvPicPr>
          <p:nvPr/>
        </p:nvPicPr>
        <p:blipFill>
          <a:blip r:embed="rId7" r:link="rId8" cstate="print">
            <a:extLst>
              <a:ext uri="{28A0092B-C50C-407E-A947-70E740481C1C}">
                <a14:useLocalDpi xmlns:a14="http://schemas.microsoft.com/office/drawing/2010/main" val="0"/>
              </a:ext>
            </a:extLst>
          </a:blip>
          <a:srcRect/>
          <a:stretch>
            <a:fillRect/>
          </a:stretch>
        </p:blipFill>
        <p:spPr bwMode="auto">
          <a:xfrm>
            <a:off x="588216" y="3997240"/>
            <a:ext cx="840577" cy="354784"/>
          </a:xfrm>
          <a:prstGeom prst="rect">
            <a:avLst/>
          </a:prstGeom>
          <a:noFill/>
          <a:ln>
            <a:noFill/>
          </a:ln>
        </p:spPr>
      </p:pic>
    </p:spTree>
    <p:extLst>
      <p:ext uri="{BB962C8B-B14F-4D97-AF65-F5344CB8AC3E}">
        <p14:creationId xmlns:p14="http://schemas.microsoft.com/office/powerpoint/2010/main" val="33342408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Radio Broadcasters &amp; Other Media</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5</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3288807267"/>
              </p:ext>
            </p:extLst>
          </p:nvPr>
        </p:nvGraphicFramePr>
        <p:xfrm>
          <a:off x="412315" y="1247612"/>
          <a:ext cx="7203619" cy="2016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kern="1200" dirty="0">
                          <a:solidFill>
                            <a:schemeClr val="tx2"/>
                          </a:solidFill>
                          <a:latin typeface="Arial" charset="0"/>
                          <a:ea typeface="+mn-ea"/>
                          <a:cs typeface="+mn-cs"/>
                        </a:rPr>
                        <a:t>Full Race Live Commentar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Clip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tx1"/>
                          </a:solidFill>
                        </a:rPr>
                        <a:t>Coverage in Mobil 1: The Grid distributed internationall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829254084"/>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tx1"/>
                          </a:solidFill>
                        </a:rPr>
                        <a:t>In-Fligh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70548425"/>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3517102" y="132419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1" name="Picture 192" descr="Home">
            <a:extLst>
              <a:ext uri="{FF2B5EF4-FFF2-40B4-BE49-F238E27FC236}">
                <a16:creationId xmlns:a16="http://schemas.microsoft.com/office/drawing/2014/main" id="{C1E80EFD-510A-49B3-9061-D43BD0E907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5989" y="1690818"/>
            <a:ext cx="1051795" cy="2233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2" name="Picture 16" descr="Image result for mobil 1 the grid">
            <a:extLst>
              <a:ext uri="{FF2B5EF4-FFF2-40B4-BE49-F238E27FC236}">
                <a16:creationId xmlns:a16="http://schemas.microsoft.com/office/drawing/2014/main" id="{0EB17FF1-7C51-437E-A04E-944091792F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405" y="2173166"/>
            <a:ext cx="846961" cy="455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6FE66183-876F-6A82-51B8-6809182F5CE9}"/>
              </a:ext>
            </a:extLst>
          </p:cNvPr>
          <p:cNvPicPr>
            <a:picLocks noChangeAspect="1"/>
          </p:cNvPicPr>
          <p:nvPr/>
        </p:nvPicPr>
        <p:blipFill>
          <a:blip r:embed="rId4"/>
          <a:stretch>
            <a:fillRect/>
          </a:stretch>
        </p:blipFill>
        <p:spPr>
          <a:xfrm>
            <a:off x="668405" y="2859750"/>
            <a:ext cx="791544" cy="267085"/>
          </a:xfrm>
          <a:prstGeom prst="rect">
            <a:avLst/>
          </a:prstGeom>
        </p:spPr>
      </p:pic>
    </p:spTree>
    <p:extLst>
      <p:ext uri="{BB962C8B-B14F-4D97-AF65-F5344CB8AC3E}">
        <p14:creationId xmlns:p14="http://schemas.microsoft.com/office/powerpoint/2010/main" val="3081936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7" name="Group 296">
            <a:extLst>
              <a:ext uri="{FF2B5EF4-FFF2-40B4-BE49-F238E27FC236}">
                <a16:creationId xmlns:a16="http://schemas.microsoft.com/office/drawing/2014/main" id="{43387381-B3D1-44E0-ACF3-CE830F7EBA8B}"/>
              </a:ext>
            </a:extLst>
          </p:cNvPr>
          <p:cNvGrpSpPr/>
          <p:nvPr/>
        </p:nvGrpSpPr>
        <p:grpSpPr>
          <a:xfrm>
            <a:off x="459251" y="930942"/>
            <a:ext cx="7419190" cy="3554150"/>
            <a:chOff x="234950" y="1076022"/>
            <a:chExt cx="8432800" cy="4039718"/>
          </a:xfrm>
        </p:grpSpPr>
        <p:sp>
          <p:nvSpPr>
            <p:cNvPr id="298" name="Argentina">
              <a:extLst>
                <a:ext uri="{FF2B5EF4-FFF2-40B4-BE49-F238E27FC236}">
                  <a16:creationId xmlns:a16="http://schemas.microsoft.com/office/drawing/2014/main" id="{E28578B8-416E-460C-A7A6-ACFADB70A76C}"/>
                </a:ext>
              </a:extLst>
            </p:cNvPr>
            <p:cNvSpPr>
              <a:spLocks noEditPoints="1"/>
            </p:cNvSpPr>
            <p:nvPr/>
          </p:nvSpPr>
          <p:spPr bwMode="gray">
            <a:xfrm>
              <a:off x="2286458" y="4109547"/>
              <a:ext cx="418693" cy="918659"/>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299" name="Group 298">
              <a:extLst>
                <a:ext uri="{FF2B5EF4-FFF2-40B4-BE49-F238E27FC236}">
                  <a16:creationId xmlns:a16="http://schemas.microsoft.com/office/drawing/2014/main" id="{07E14598-DFE5-4EF9-B0AF-CC892C887C3A}"/>
                </a:ext>
              </a:extLst>
            </p:cNvPr>
            <p:cNvGrpSpPr/>
            <p:nvPr/>
          </p:nvGrpSpPr>
          <p:grpSpPr>
            <a:xfrm>
              <a:off x="234950" y="1076022"/>
              <a:ext cx="8432800" cy="4039718"/>
              <a:chOff x="423667" y="1011533"/>
              <a:chExt cx="8298919" cy="4048753"/>
            </a:xfrm>
          </p:grpSpPr>
          <p:sp>
            <p:nvSpPr>
              <p:cNvPr id="300" name="Chile">
                <a:extLst>
                  <a:ext uri="{FF2B5EF4-FFF2-40B4-BE49-F238E27FC236}">
                    <a16:creationId xmlns:a16="http://schemas.microsoft.com/office/drawing/2014/main" id="{24ABECD2-B47B-4A7D-AED3-C11595DD8334}"/>
                  </a:ext>
                </a:extLst>
              </p:cNvPr>
              <p:cNvSpPr>
                <a:spLocks noEditPoints="1"/>
              </p:cNvSpPr>
              <p:nvPr/>
            </p:nvSpPr>
            <p:spPr bwMode="gray">
              <a:xfrm>
                <a:off x="2379766" y="3917949"/>
                <a:ext cx="437333" cy="1142337"/>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301" name="Group 300">
                <a:extLst>
                  <a:ext uri="{FF2B5EF4-FFF2-40B4-BE49-F238E27FC236}">
                    <a16:creationId xmlns:a16="http://schemas.microsoft.com/office/drawing/2014/main" id="{6D2AF155-ADC9-4AAB-94D1-1B7685EEC857}"/>
                  </a:ext>
                </a:extLst>
              </p:cNvPr>
              <p:cNvGrpSpPr/>
              <p:nvPr/>
            </p:nvGrpSpPr>
            <p:grpSpPr>
              <a:xfrm>
                <a:off x="423667" y="1011533"/>
                <a:ext cx="8298919" cy="3783992"/>
                <a:chOff x="423667" y="1011533"/>
                <a:chExt cx="8298919" cy="3783992"/>
              </a:xfrm>
            </p:grpSpPr>
            <p:sp>
              <p:nvSpPr>
                <p:cNvPr id="302" name="Solomon Islands">
                  <a:extLst>
                    <a:ext uri="{FF2B5EF4-FFF2-40B4-BE49-F238E27FC236}">
                      <a16:creationId xmlns:a16="http://schemas.microsoft.com/office/drawing/2014/main" id="{E75FE38A-D591-4418-968C-B7342E81E542}"/>
                    </a:ext>
                  </a:extLst>
                </p:cNvPr>
                <p:cNvSpPr>
                  <a:spLocks noEditPoints="1"/>
                </p:cNvSpPr>
                <p:nvPr/>
              </p:nvSpPr>
              <p:spPr bwMode="gray">
                <a:xfrm>
                  <a:off x="8435493" y="3586254"/>
                  <a:ext cx="139828" cy="130893"/>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3" name="Papua New Guinea">
                  <a:extLst>
                    <a:ext uri="{FF2B5EF4-FFF2-40B4-BE49-F238E27FC236}">
                      <a16:creationId xmlns:a16="http://schemas.microsoft.com/office/drawing/2014/main" id="{F842ABF5-7841-48D5-BCB4-EBE2DD6050A3}"/>
                    </a:ext>
                  </a:extLst>
                </p:cNvPr>
                <p:cNvSpPr>
                  <a:spLocks noEditPoints="1"/>
                </p:cNvSpPr>
                <p:nvPr/>
              </p:nvSpPr>
              <p:spPr bwMode="gray">
                <a:xfrm>
                  <a:off x="8007085" y="3439000"/>
                  <a:ext cx="410557" cy="273685"/>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4" name="Sri Lanka">
                  <a:extLst>
                    <a:ext uri="{FF2B5EF4-FFF2-40B4-BE49-F238E27FC236}">
                      <a16:creationId xmlns:a16="http://schemas.microsoft.com/office/drawing/2014/main" id="{F18D50A9-0FE0-4008-8381-3B10491487AA}"/>
                    </a:ext>
                  </a:extLst>
                </p:cNvPr>
                <p:cNvSpPr>
                  <a:spLocks/>
                </p:cNvSpPr>
                <p:nvPr/>
              </p:nvSpPr>
              <p:spPr bwMode="gray">
                <a:xfrm>
                  <a:off x="6372292" y="3090945"/>
                  <a:ext cx="63964" cy="114531"/>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5" name="Myanmar">
                  <a:extLst>
                    <a:ext uri="{FF2B5EF4-FFF2-40B4-BE49-F238E27FC236}">
                      <a16:creationId xmlns:a16="http://schemas.microsoft.com/office/drawing/2014/main" id="{B5FBA473-6EF9-4C86-B71F-83FB6E5BDCD5}"/>
                    </a:ext>
                  </a:extLst>
                </p:cNvPr>
                <p:cNvSpPr>
                  <a:spLocks/>
                </p:cNvSpPr>
                <p:nvPr/>
              </p:nvSpPr>
              <p:spPr bwMode="gray">
                <a:xfrm>
                  <a:off x="6668310" y="2515314"/>
                  <a:ext cx="240980" cy="565219"/>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6" name="Turkey">
                  <a:extLst>
                    <a:ext uri="{FF2B5EF4-FFF2-40B4-BE49-F238E27FC236}">
                      <a16:creationId xmlns:a16="http://schemas.microsoft.com/office/drawing/2014/main" id="{81BFBA1A-45E2-456F-9E6C-81FFB255030B}"/>
                    </a:ext>
                  </a:extLst>
                </p:cNvPr>
                <p:cNvSpPr>
                  <a:spLocks noEditPoints="1"/>
                </p:cNvSpPr>
                <p:nvPr/>
              </p:nvSpPr>
              <p:spPr bwMode="gray">
                <a:xfrm>
                  <a:off x="4881788" y="2101810"/>
                  <a:ext cx="501297" cy="190390"/>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7" name="Iran">
                  <a:extLst>
                    <a:ext uri="{FF2B5EF4-FFF2-40B4-BE49-F238E27FC236}">
                      <a16:creationId xmlns:a16="http://schemas.microsoft.com/office/drawing/2014/main" id="{1B56FBF1-9E9D-4B93-9202-C0D9BCA44B28}"/>
                    </a:ext>
                  </a:extLst>
                </p:cNvPr>
                <p:cNvSpPr>
                  <a:spLocks/>
                </p:cNvSpPr>
                <p:nvPr/>
              </p:nvSpPr>
              <p:spPr bwMode="gray">
                <a:xfrm>
                  <a:off x="5351848" y="2173206"/>
                  <a:ext cx="542948" cy="444739"/>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08" name="Western Sahara">
                  <a:extLst>
                    <a:ext uri="{FF2B5EF4-FFF2-40B4-BE49-F238E27FC236}">
                      <a16:creationId xmlns:a16="http://schemas.microsoft.com/office/drawing/2014/main" id="{26A94858-4B0D-484D-969F-D94ECE169825}"/>
                    </a:ext>
                  </a:extLst>
                </p:cNvPr>
                <p:cNvSpPr>
                  <a:spLocks/>
                </p:cNvSpPr>
                <p:nvPr/>
              </p:nvSpPr>
              <p:spPr bwMode="gray">
                <a:xfrm>
                  <a:off x="3797380" y="2542087"/>
                  <a:ext cx="226105" cy="193364"/>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9" name="Togo">
                  <a:extLst>
                    <a:ext uri="{FF2B5EF4-FFF2-40B4-BE49-F238E27FC236}">
                      <a16:creationId xmlns:a16="http://schemas.microsoft.com/office/drawing/2014/main" id="{D56827E4-65A4-45F2-A21C-37CA0EA0E62B}"/>
                    </a:ext>
                  </a:extLst>
                </p:cNvPr>
                <p:cNvSpPr>
                  <a:spLocks/>
                </p:cNvSpPr>
                <p:nvPr/>
              </p:nvSpPr>
              <p:spPr bwMode="gray">
                <a:xfrm>
                  <a:off x="4234714" y="3046322"/>
                  <a:ext cx="53551" cy="151716"/>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0" name="Sierra Leone">
                  <a:extLst>
                    <a:ext uri="{FF2B5EF4-FFF2-40B4-BE49-F238E27FC236}">
                      <a16:creationId xmlns:a16="http://schemas.microsoft.com/office/drawing/2014/main" id="{5C8CDC61-44D9-4583-B82F-E3EE263954DB}"/>
                    </a:ext>
                  </a:extLst>
                </p:cNvPr>
                <p:cNvSpPr>
                  <a:spLocks/>
                </p:cNvSpPr>
                <p:nvPr/>
              </p:nvSpPr>
              <p:spPr bwMode="gray">
                <a:xfrm>
                  <a:off x="3886632" y="3076070"/>
                  <a:ext cx="77352" cy="101145"/>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1" name="Senegal">
                  <a:extLst>
                    <a:ext uri="{FF2B5EF4-FFF2-40B4-BE49-F238E27FC236}">
                      <a16:creationId xmlns:a16="http://schemas.microsoft.com/office/drawing/2014/main" id="{2A199231-86DF-4C78-8520-7FB8F809EE06}"/>
                    </a:ext>
                  </a:extLst>
                </p:cNvPr>
                <p:cNvSpPr>
                  <a:spLocks/>
                </p:cNvSpPr>
                <p:nvPr/>
              </p:nvSpPr>
              <p:spPr bwMode="gray">
                <a:xfrm>
                  <a:off x="3807793" y="2870805"/>
                  <a:ext cx="156191" cy="138331"/>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2" name="Mauritania">
                  <a:extLst>
                    <a:ext uri="{FF2B5EF4-FFF2-40B4-BE49-F238E27FC236}">
                      <a16:creationId xmlns:a16="http://schemas.microsoft.com/office/drawing/2014/main" id="{BD113253-FC01-4EAA-9B80-C9DC17708BC7}"/>
                    </a:ext>
                  </a:extLst>
                </p:cNvPr>
                <p:cNvSpPr>
                  <a:spLocks/>
                </p:cNvSpPr>
                <p:nvPr/>
              </p:nvSpPr>
              <p:spPr bwMode="gray">
                <a:xfrm>
                  <a:off x="3797380" y="2555473"/>
                  <a:ext cx="322794" cy="379292"/>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3" name="Mali">
                  <a:extLst>
                    <a:ext uri="{FF2B5EF4-FFF2-40B4-BE49-F238E27FC236}">
                      <a16:creationId xmlns:a16="http://schemas.microsoft.com/office/drawing/2014/main" id="{9FCA3E9F-9EBA-423A-A7EA-8E0E9BE9E445}"/>
                    </a:ext>
                  </a:extLst>
                </p:cNvPr>
                <p:cNvSpPr>
                  <a:spLocks/>
                </p:cNvSpPr>
                <p:nvPr/>
              </p:nvSpPr>
              <p:spPr bwMode="gray">
                <a:xfrm>
                  <a:off x="3914896" y="2620919"/>
                  <a:ext cx="438821" cy="453662"/>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4" name="Liberia">
                  <a:extLst>
                    <a:ext uri="{FF2B5EF4-FFF2-40B4-BE49-F238E27FC236}">
                      <a16:creationId xmlns:a16="http://schemas.microsoft.com/office/drawing/2014/main" id="{DF6B52E5-48B2-40D1-B7C7-67365D4E305C}"/>
                    </a:ext>
                  </a:extLst>
                </p:cNvPr>
                <p:cNvSpPr>
                  <a:spLocks/>
                </p:cNvSpPr>
                <p:nvPr/>
              </p:nvSpPr>
              <p:spPr bwMode="gray">
                <a:xfrm>
                  <a:off x="3923821" y="3120692"/>
                  <a:ext cx="117515" cy="130893"/>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5" name="Guinea-Bissau">
                  <a:extLst>
                    <a:ext uri="{FF2B5EF4-FFF2-40B4-BE49-F238E27FC236}">
                      <a16:creationId xmlns:a16="http://schemas.microsoft.com/office/drawing/2014/main" id="{A98BA693-47EA-4E72-B680-14A484258779}"/>
                    </a:ext>
                  </a:extLst>
                </p:cNvPr>
                <p:cNvSpPr>
                  <a:spLocks/>
                </p:cNvSpPr>
                <p:nvPr/>
              </p:nvSpPr>
              <p:spPr bwMode="gray">
                <a:xfrm>
                  <a:off x="3806305" y="2994261"/>
                  <a:ext cx="69914" cy="59497"/>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6" name="Guinea">
                  <a:extLst>
                    <a:ext uri="{FF2B5EF4-FFF2-40B4-BE49-F238E27FC236}">
                      <a16:creationId xmlns:a16="http://schemas.microsoft.com/office/drawing/2014/main" id="{11D64C25-5FE8-4A3C-9707-AA866795F9AC}"/>
                    </a:ext>
                  </a:extLst>
                </p:cNvPr>
                <p:cNvSpPr>
                  <a:spLocks/>
                </p:cNvSpPr>
                <p:nvPr/>
              </p:nvSpPr>
              <p:spPr bwMode="gray">
                <a:xfrm>
                  <a:off x="3840519" y="2997236"/>
                  <a:ext cx="196354" cy="166591"/>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7" name="Ghana">
                  <a:extLst>
                    <a:ext uri="{FF2B5EF4-FFF2-40B4-BE49-F238E27FC236}">
                      <a16:creationId xmlns:a16="http://schemas.microsoft.com/office/drawing/2014/main" id="{FB0712BB-66F2-4020-9961-617D6A019345}"/>
                    </a:ext>
                  </a:extLst>
                </p:cNvPr>
                <p:cNvSpPr>
                  <a:spLocks/>
                </p:cNvSpPr>
                <p:nvPr/>
              </p:nvSpPr>
              <p:spPr bwMode="gray">
                <a:xfrm>
                  <a:off x="4149924" y="3044834"/>
                  <a:ext cx="121977" cy="194852"/>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8" name="The Gambia">
                  <a:extLst>
                    <a:ext uri="{FF2B5EF4-FFF2-40B4-BE49-F238E27FC236}">
                      <a16:creationId xmlns:a16="http://schemas.microsoft.com/office/drawing/2014/main" id="{B8084C08-6A11-408C-931F-BDD2F9E80FEA}"/>
                    </a:ext>
                  </a:extLst>
                </p:cNvPr>
                <p:cNvSpPr>
                  <a:spLocks/>
                </p:cNvSpPr>
                <p:nvPr/>
              </p:nvSpPr>
              <p:spPr bwMode="gray">
                <a:xfrm>
                  <a:off x="3792918" y="2963025"/>
                  <a:ext cx="81815" cy="19337"/>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9" name="Côte d'Ivoire">
                  <a:extLst>
                    <a:ext uri="{FF2B5EF4-FFF2-40B4-BE49-F238E27FC236}">
                      <a16:creationId xmlns:a16="http://schemas.microsoft.com/office/drawing/2014/main" id="{CA4DF9E2-0617-40D7-A70B-308186164556}"/>
                    </a:ext>
                  </a:extLst>
                </p:cNvPr>
                <p:cNvSpPr>
                  <a:spLocks/>
                </p:cNvSpPr>
                <p:nvPr/>
              </p:nvSpPr>
              <p:spPr bwMode="gray">
                <a:xfrm>
                  <a:off x="4007122" y="3056733"/>
                  <a:ext cx="165116" cy="194852"/>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0" name="USA (Alaska)">
                  <a:extLst>
                    <a:ext uri="{FF2B5EF4-FFF2-40B4-BE49-F238E27FC236}">
                      <a16:creationId xmlns:a16="http://schemas.microsoft.com/office/drawing/2014/main" id="{188769F4-16E3-45BB-8D75-68E6EA918347}"/>
                    </a:ext>
                  </a:extLst>
                </p:cNvPr>
                <p:cNvSpPr>
                  <a:spLocks noEditPoints="1"/>
                </p:cNvSpPr>
                <p:nvPr/>
              </p:nvSpPr>
              <p:spPr bwMode="gray">
                <a:xfrm>
                  <a:off x="423667" y="1282243"/>
                  <a:ext cx="1158785" cy="501260"/>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1" name="USA">
                  <a:extLst>
                    <a:ext uri="{FF2B5EF4-FFF2-40B4-BE49-F238E27FC236}">
                      <a16:creationId xmlns:a16="http://schemas.microsoft.com/office/drawing/2014/main" id="{9F37DE2E-B58C-4591-B363-D2AE726E78CE}"/>
                    </a:ext>
                  </a:extLst>
                </p:cNvPr>
                <p:cNvSpPr>
                  <a:spLocks noEditPoints="1"/>
                </p:cNvSpPr>
                <p:nvPr/>
              </p:nvSpPr>
              <p:spPr bwMode="gray">
                <a:xfrm>
                  <a:off x="1182306" y="1886135"/>
                  <a:ext cx="1477115" cy="731811"/>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2" name="Canada">
                  <a:extLst>
                    <a:ext uri="{FF2B5EF4-FFF2-40B4-BE49-F238E27FC236}">
                      <a16:creationId xmlns:a16="http://schemas.microsoft.com/office/drawing/2014/main" id="{94EDDCC3-1931-4146-B3D9-F5EBC7297126}"/>
                    </a:ext>
                  </a:extLst>
                </p:cNvPr>
                <p:cNvSpPr>
                  <a:spLocks noEditPoints="1"/>
                </p:cNvSpPr>
                <p:nvPr/>
              </p:nvSpPr>
              <p:spPr bwMode="gray">
                <a:xfrm>
                  <a:off x="1261145" y="1020458"/>
                  <a:ext cx="2101877" cy="1087302"/>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3" name="Russia (Urup,Simushir)">
                  <a:extLst>
                    <a:ext uri="{FF2B5EF4-FFF2-40B4-BE49-F238E27FC236}">
                      <a16:creationId xmlns:a16="http://schemas.microsoft.com/office/drawing/2014/main" id="{B93BE54A-4F56-4B7A-AC39-D839F8CBE065}"/>
                    </a:ext>
                  </a:extLst>
                </p:cNvPr>
                <p:cNvSpPr>
                  <a:spLocks noEditPoints="1"/>
                </p:cNvSpPr>
                <p:nvPr/>
              </p:nvSpPr>
              <p:spPr bwMode="gray">
                <a:xfrm>
                  <a:off x="7791394" y="1602038"/>
                  <a:ext cx="113052" cy="452175"/>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4" name="Vietnam">
                  <a:extLst>
                    <a:ext uri="{FF2B5EF4-FFF2-40B4-BE49-F238E27FC236}">
                      <a16:creationId xmlns:a16="http://schemas.microsoft.com/office/drawing/2014/main" id="{8B39E643-435B-4BC1-80AB-B8C6723D03F0}"/>
                    </a:ext>
                  </a:extLst>
                </p:cNvPr>
                <p:cNvSpPr>
                  <a:spLocks/>
                </p:cNvSpPr>
                <p:nvPr/>
              </p:nvSpPr>
              <p:spPr bwMode="gray">
                <a:xfrm>
                  <a:off x="6931602" y="2671492"/>
                  <a:ext cx="227592" cy="449200"/>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5" name="Thailand">
                  <a:extLst>
                    <a:ext uri="{FF2B5EF4-FFF2-40B4-BE49-F238E27FC236}">
                      <a16:creationId xmlns:a16="http://schemas.microsoft.com/office/drawing/2014/main" id="{8D043639-0F41-4BAF-A3A3-456B46D19C1E}"/>
                    </a:ext>
                  </a:extLst>
                </p:cNvPr>
                <p:cNvSpPr>
                  <a:spLocks/>
                </p:cNvSpPr>
                <p:nvPr/>
              </p:nvSpPr>
              <p:spPr bwMode="gray">
                <a:xfrm>
                  <a:off x="6820038" y="2762225"/>
                  <a:ext cx="233542" cy="447713"/>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6" name="Taiwan">
                  <a:extLst>
                    <a:ext uri="{FF2B5EF4-FFF2-40B4-BE49-F238E27FC236}">
                      <a16:creationId xmlns:a16="http://schemas.microsoft.com/office/drawing/2014/main" id="{80010248-8BF1-4685-BF7E-44BD34ACDF11}"/>
                    </a:ext>
                  </a:extLst>
                </p:cNvPr>
                <p:cNvSpPr>
                  <a:spLocks/>
                </p:cNvSpPr>
                <p:nvPr/>
              </p:nvSpPr>
              <p:spPr bwMode="gray">
                <a:xfrm>
                  <a:off x="7389761" y="2613483"/>
                  <a:ext cx="46114" cy="101145"/>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7" name="Philippines">
                  <a:extLst>
                    <a:ext uri="{FF2B5EF4-FFF2-40B4-BE49-F238E27FC236}">
                      <a16:creationId xmlns:a16="http://schemas.microsoft.com/office/drawing/2014/main" id="{4B31FFB7-3ABA-4D5B-B2E6-51F94337A20F}"/>
                    </a:ext>
                  </a:extLst>
                </p:cNvPr>
                <p:cNvSpPr>
                  <a:spLocks noEditPoints="1"/>
                </p:cNvSpPr>
                <p:nvPr/>
              </p:nvSpPr>
              <p:spPr bwMode="gray">
                <a:xfrm>
                  <a:off x="7376373" y="2812797"/>
                  <a:ext cx="269243" cy="453662"/>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8" name="Parcel Islands">
                  <a:extLst>
                    <a:ext uri="{FF2B5EF4-FFF2-40B4-BE49-F238E27FC236}">
                      <a16:creationId xmlns:a16="http://schemas.microsoft.com/office/drawing/2014/main" id="{52314562-48A8-4934-803A-56ECF8DD50D3}"/>
                    </a:ext>
                  </a:extLst>
                </p:cNvPr>
                <p:cNvSpPr>
                  <a:spLocks noEditPoints="1"/>
                </p:cNvSpPr>
                <p:nvPr/>
              </p:nvSpPr>
              <p:spPr bwMode="gray">
                <a:xfrm>
                  <a:off x="7193408" y="2857420"/>
                  <a:ext cx="35701" cy="23798"/>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9" name="Malaysia">
                  <a:extLst>
                    <a:ext uri="{FF2B5EF4-FFF2-40B4-BE49-F238E27FC236}">
                      <a16:creationId xmlns:a16="http://schemas.microsoft.com/office/drawing/2014/main" id="{59830364-C1AE-455D-A4A8-55D0F37AEE20}"/>
                    </a:ext>
                  </a:extLst>
                </p:cNvPr>
                <p:cNvSpPr>
                  <a:spLocks/>
                </p:cNvSpPr>
                <p:nvPr/>
              </p:nvSpPr>
              <p:spPr bwMode="gray">
                <a:xfrm>
                  <a:off x="6919702" y="3177214"/>
                  <a:ext cx="114540" cy="165104"/>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0" name="AutoShape 80">
                  <a:extLst>
                    <a:ext uri="{FF2B5EF4-FFF2-40B4-BE49-F238E27FC236}">
                      <a16:creationId xmlns:a16="http://schemas.microsoft.com/office/drawing/2014/main" id="{086B13AF-9A16-4CA8-9CA1-549DC6E9DA30}"/>
                    </a:ext>
                  </a:extLst>
                </p:cNvPr>
                <p:cNvSpPr>
                  <a:spLocks/>
                </p:cNvSpPr>
                <p:nvPr/>
              </p:nvSpPr>
              <p:spPr bwMode="gray">
                <a:xfrm>
                  <a:off x="7188946" y="3157878"/>
                  <a:ext cx="260317" cy="199314"/>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1" name="Laos">
                  <a:extLst>
                    <a:ext uri="{FF2B5EF4-FFF2-40B4-BE49-F238E27FC236}">
                      <a16:creationId xmlns:a16="http://schemas.microsoft.com/office/drawing/2014/main" id="{A9648A7D-FEC7-4D7D-9201-B32B17309CF0}"/>
                    </a:ext>
                  </a:extLst>
                </p:cNvPr>
                <p:cNvSpPr>
                  <a:spLocks/>
                </p:cNvSpPr>
                <p:nvPr/>
              </p:nvSpPr>
              <p:spPr bwMode="gray">
                <a:xfrm>
                  <a:off x="6881026" y="2698265"/>
                  <a:ext cx="227592" cy="261786"/>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2" name="Korea, South">
                  <a:extLst>
                    <a:ext uri="{FF2B5EF4-FFF2-40B4-BE49-F238E27FC236}">
                      <a16:creationId xmlns:a16="http://schemas.microsoft.com/office/drawing/2014/main" id="{98C2A701-6D0C-4E8F-82F2-EB1BACF8EACD}"/>
                    </a:ext>
                  </a:extLst>
                </p:cNvPr>
                <p:cNvSpPr>
                  <a:spLocks noEditPoints="1"/>
                </p:cNvSpPr>
                <p:nvPr/>
              </p:nvSpPr>
              <p:spPr bwMode="gray">
                <a:xfrm>
                  <a:off x="7422486" y="2211879"/>
                  <a:ext cx="102640" cy="160641"/>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3" name="Korea, North">
                  <a:extLst>
                    <a:ext uri="{FF2B5EF4-FFF2-40B4-BE49-F238E27FC236}">
                      <a16:creationId xmlns:a16="http://schemas.microsoft.com/office/drawing/2014/main" id="{995F48C5-8CC5-48BA-AE35-E175D5698EBA}"/>
                    </a:ext>
                  </a:extLst>
                </p:cNvPr>
                <p:cNvSpPr>
                  <a:spLocks/>
                </p:cNvSpPr>
                <p:nvPr/>
              </p:nvSpPr>
              <p:spPr bwMode="gray">
                <a:xfrm>
                  <a:off x="7336210" y="2079500"/>
                  <a:ext cx="123466" cy="157666"/>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4" name="Japan">
                  <a:extLst>
                    <a:ext uri="{FF2B5EF4-FFF2-40B4-BE49-F238E27FC236}">
                      <a16:creationId xmlns:a16="http://schemas.microsoft.com/office/drawing/2014/main" id="{31A49BB2-7435-4544-8890-DCB9C5E7FCD2}"/>
                    </a:ext>
                  </a:extLst>
                </p:cNvPr>
                <p:cNvSpPr>
                  <a:spLocks noEditPoints="1"/>
                </p:cNvSpPr>
                <p:nvPr/>
              </p:nvSpPr>
              <p:spPr bwMode="gray">
                <a:xfrm>
                  <a:off x="7480501" y="2002154"/>
                  <a:ext cx="330231" cy="644052"/>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5" name="Indonesia">
                  <a:extLst>
                    <a:ext uri="{FF2B5EF4-FFF2-40B4-BE49-F238E27FC236}">
                      <a16:creationId xmlns:a16="http://schemas.microsoft.com/office/drawing/2014/main" id="{CFF67D71-90B6-4DF7-9451-07B71D7C1E25}"/>
                    </a:ext>
                  </a:extLst>
                </p:cNvPr>
                <p:cNvSpPr>
                  <a:spLocks noEditPoints="1"/>
                </p:cNvSpPr>
                <p:nvPr/>
              </p:nvSpPr>
              <p:spPr bwMode="gray">
                <a:xfrm>
                  <a:off x="6791775" y="3209937"/>
                  <a:ext cx="1231673" cy="490848"/>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6" name="India">
                  <a:extLst>
                    <a:ext uri="{FF2B5EF4-FFF2-40B4-BE49-F238E27FC236}">
                      <a16:creationId xmlns:a16="http://schemas.microsoft.com/office/drawing/2014/main" id="{837A1D1C-04DD-4175-B274-F99194C2CC62}"/>
                    </a:ext>
                  </a:extLst>
                </p:cNvPr>
                <p:cNvSpPr>
                  <a:spLocks noEditPoints="1"/>
                </p:cNvSpPr>
                <p:nvPr/>
              </p:nvSpPr>
              <p:spPr bwMode="gray">
                <a:xfrm>
                  <a:off x="6037598" y="2287738"/>
                  <a:ext cx="737814" cy="889476"/>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37" name="East Timor">
                  <a:extLst>
                    <a:ext uri="{FF2B5EF4-FFF2-40B4-BE49-F238E27FC236}">
                      <a16:creationId xmlns:a16="http://schemas.microsoft.com/office/drawing/2014/main" id="{FFC793C0-F70A-4711-827A-917237608212}"/>
                    </a:ext>
                  </a:extLst>
                </p:cNvPr>
                <p:cNvSpPr>
                  <a:spLocks noEditPoints="1"/>
                </p:cNvSpPr>
                <p:nvPr/>
              </p:nvSpPr>
              <p:spPr bwMode="gray">
                <a:xfrm>
                  <a:off x="7557852" y="3632364"/>
                  <a:ext cx="93715" cy="44623"/>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8" name="China">
                  <a:extLst>
                    <a:ext uri="{FF2B5EF4-FFF2-40B4-BE49-F238E27FC236}">
                      <a16:creationId xmlns:a16="http://schemas.microsoft.com/office/drawing/2014/main" id="{1334A50B-4021-4C94-88A6-008A30CA6917}"/>
                    </a:ext>
                  </a:extLst>
                </p:cNvPr>
                <p:cNvSpPr>
                  <a:spLocks noEditPoints="1"/>
                </p:cNvSpPr>
                <p:nvPr/>
              </p:nvSpPr>
              <p:spPr bwMode="gray">
                <a:xfrm>
                  <a:off x="6089662" y="1762679"/>
                  <a:ext cx="1378938" cy="1064992"/>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9" name="Cambodia">
                  <a:extLst>
                    <a:ext uri="{FF2B5EF4-FFF2-40B4-BE49-F238E27FC236}">
                      <a16:creationId xmlns:a16="http://schemas.microsoft.com/office/drawing/2014/main" id="{F7132ECF-9C57-4F40-8CFA-11BD6F48EC6B}"/>
                    </a:ext>
                  </a:extLst>
                </p:cNvPr>
                <p:cNvSpPr>
                  <a:spLocks/>
                </p:cNvSpPr>
                <p:nvPr/>
              </p:nvSpPr>
              <p:spPr bwMode="gray">
                <a:xfrm>
                  <a:off x="6968791" y="2940715"/>
                  <a:ext cx="144291" cy="126431"/>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0" name="Venezuela">
                  <a:extLst>
                    <a:ext uri="{FF2B5EF4-FFF2-40B4-BE49-F238E27FC236}">
                      <a16:creationId xmlns:a16="http://schemas.microsoft.com/office/drawing/2014/main" id="{4D770339-3B28-43D2-BFB8-C0FABD82BDD6}"/>
                    </a:ext>
                  </a:extLst>
                </p:cNvPr>
                <p:cNvSpPr>
                  <a:spLocks noEditPoints="1"/>
                </p:cNvSpPr>
                <p:nvPr/>
              </p:nvSpPr>
              <p:spPr bwMode="gray">
                <a:xfrm>
                  <a:off x="2278615" y="3012111"/>
                  <a:ext cx="359981" cy="351031"/>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1" name="Peru">
                  <a:extLst>
                    <a:ext uri="{FF2B5EF4-FFF2-40B4-BE49-F238E27FC236}">
                      <a16:creationId xmlns:a16="http://schemas.microsoft.com/office/drawing/2014/main" id="{9814DF96-8CF8-4B1B-9967-FD8B6B08735B}"/>
                    </a:ext>
                  </a:extLst>
                </p:cNvPr>
                <p:cNvSpPr>
                  <a:spLocks/>
                </p:cNvSpPr>
                <p:nvPr/>
              </p:nvSpPr>
              <p:spPr bwMode="gray">
                <a:xfrm>
                  <a:off x="2056973" y="3380990"/>
                  <a:ext cx="355519" cy="562244"/>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2" name="Guyane (French Guiana)">
                  <a:extLst>
                    <a:ext uri="{FF2B5EF4-FFF2-40B4-BE49-F238E27FC236}">
                      <a16:creationId xmlns:a16="http://schemas.microsoft.com/office/drawing/2014/main" id="{E32E2AED-3963-4A30-A337-D9E1AD1F8667}"/>
                    </a:ext>
                  </a:extLst>
                </p:cNvPr>
                <p:cNvSpPr>
                  <a:spLocks/>
                </p:cNvSpPr>
                <p:nvPr/>
              </p:nvSpPr>
              <p:spPr bwMode="gray">
                <a:xfrm>
                  <a:off x="2772474" y="3206963"/>
                  <a:ext cx="77352" cy="111556"/>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3" name="Ecuador">
                  <a:extLst>
                    <a:ext uri="{FF2B5EF4-FFF2-40B4-BE49-F238E27FC236}">
                      <a16:creationId xmlns:a16="http://schemas.microsoft.com/office/drawing/2014/main" id="{91362B1B-F7EE-4583-9775-E05F7483394D}"/>
                    </a:ext>
                  </a:extLst>
                </p:cNvPr>
                <p:cNvSpPr>
                  <a:spLocks noEditPoints="1"/>
                </p:cNvSpPr>
                <p:nvPr/>
              </p:nvSpPr>
              <p:spPr bwMode="gray">
                <a:xfrm>
                  <a:off x="2061436" y="3333392"/>
                  <a:ext cx="156191" cy="199314"/>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4" name="Colombia">
                  <a:extLst>
                    <a:ext uri="{FF2B5EF4-FFF2-40B4-BE49-F238E27FC236}">
                      <a16:creationId xmlns:a16="http://schemas.microsoft.com/office/drawing/2014/main" id="{6EFF4D2A-B807-4FC1-9836-27F13F5AA418}"/>
                    </a:ext>
                  </a:extLst>
                </p:cNvPr>
                <p:cNvSpPr>
                  <a:spLocks/>
                </p:cNvSpPr>
                <p:nvPr/>
              </p:nvSpPr>
              <p:spPr bwMode="gray">
                <a:xfrm>
                  <a:off x="2116475" y="3003186"/>
                  <a:ext cx="327256" cy="507210"/>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5" name="Brazil">
                  <a:extLst>
                    <a:ext uri="{FF2B5EF4-FFF2-40B4-BE49-F238E27FC236}">
                      <a16:creationId xmlns:a16="http://schemas.microsoft.com/office/drawing/2014/main" id="{6C8B9C51-0A3F-4D00-A42F-249C65FC8CD0}"/>
                    </a:ext>
                  </a:extLst>
                </p:cNvPr>
                <p:cNvSpPr>
                  <a:spLocks noEditPoints="1"/>
                </p:cNvSpPr>
                <p:nvPr/>
              </p:nvSpPr>
              <p:spPr bwMode="gray">
                <a:xfrm>
                  <a:off x="2257790" y="3221837"/>
                  <a:ext cx="1050194" cy="1186960"/>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6" name="Paraguay">
                  <a:extLst>
                    <a:ext uri="{FF2B5EF4-FFF2-40B4-BE49-F238E27FC236}">
                      <a16:creationId xmlns:a16="http://schemas.microsoft.com/office/drawing/2014/main" id="{8E6D8419-4BF0-493A-AE26-598492DB115B}"/>
                    </a:ext>
                  </a:extLst>
                </p:cNvPr>
                <p:cNvSpPr>
                  <a:spLocks/>
                </p:cNvSpPr>
                <p:nvPr/>
              </p:nvSpPr>
              <p:spPr bwMode="gray">
                <a:xfrm>
                  <a:off x="2599920" y="3967034"/>
                  <a:ext cx="226105" cy="255836"/>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7" name="Bolivia">
                  <a:extLst>
                    <a:ext uri="{FF2B5EF4-FFF2-40B4-BE49-F238E27FC236}">
                      <a16:creationId xmlns:a16="http://schemas.microsoft.com/office/drawing/2014/main" id="{03F0E152-AB9D-423B-AB3B-B73B31E8E398}"/>
                    </a:ext>
                  </a:extLst>
                </p:cNvPr>
                <p:cNvSpPr>
                  <a:spLocks/>
                </p:cNvSpPr>
                <p:nvPr/>
              </p:nvSpPr>
              <p:spPr bwMode="gray">
                <a:xfrm>
                  <a:off x="2382741" y="3676987"/>
                  <a:ext cx="336181" cy="400116"/>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8" name="Puerto Rico">
                  <a:extLst>
                    <a:ext uri="{FF2B5EF4-FFF2-40B4-BE49-F238E27FC236}">
                      <a16:creationId xmlns:a16="http://schemas.microsoft.com/office/drawing/2014/main" id="{CEA18C3B-7E18-4C29-A85F-13D6C4D535B6}"/>
                    </a:ext>
                  </a:extLst>
                </p:cNvPr>
                <p:cNvSpPr>
                  <a:spLocks/>
                </p:cNvSpPr>
                <p:nvPr/>
              </p:nvSpPr>
              <p:spPr bwMode="gray">
                <a:xfrm>
                  <a:off x="2467530" y="2823209"/>
                  <a:ext cx="52064" cy="22311"/>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9" name="Panama">
                  <a:extLst>
                    <a:ext uri="{FF2B5EF4-FFF2-40B4-BE49-F238E27FC236}">
                      <a16:creationId xmlns:a16="http://schemas.microsoft.com/office/drawing/2014/main" id="{BF423B6F-59F3-47BC-84C2-1285AD67CBD2}"/>
                    </a:ext>
                  </a:extLst>
                </p:cNvPr>
                <p:cNvSpPr>
                  <a:spLocks/>
                </p:cNvSpPr>
                <p:nvPr/>
              </p:nvSpPr>
              <p:spPr bwMode="gray">
                <a:xfrm>
                  <a:off x="2019784" y="3090945"/>
                  <a:ext cx="153216" cy="72884"/>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0" name="Nicaragua">
                  <a:extLst>
                    <a:ext uri="{FF2B5EF4-FFF2-40B4-BE49-F238E27FC236}">
                      <a16:creationId xmlns:a16="http://schemas.microsoft.com/office/drawing/2014/main" id="{B891BF84-3996-4DFA-B4D5-1FA822A96F9A}"/>
                    </a:ext>
                  </a:extLst>
                </p:cNvPr>
                <p:cNvSpPr>
                  <a:spLocks/>
                </p:cNvSpPr>
                <p:nvPr/>
              </p:nvSpPr>
              <p:spPr bwMode="gray">
                <a:xfrm>
                  <a:off x="1905245" y="2931790"/>
                  <a:ext cx="123466" cy="124943"/>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1" name="Jamaica">
                  <a:extLst>
                    <a:ext uri="{FF2B5EF4-FFF2-40B4-BE49-F238E27FC236}">
                      <a16:creationId xmlns:a16="http://schemas.microsoft.com/office/drawing/2014/main" id="{BC3033C3-B53B-4F6D-A0AF-79FE3755BD5B}"/>
                    </a:ext>
                  </a:extLst>
                </p:cNvPr>
                <p:cNvSpPr>
                  <a:spLocks/>
                </p:cNvSpPr>
                <p:nvPr/>
              </p:nvSpPr>
              <p:spPr bwMode="gray">
                <a:xfrm>
                  <a:off x="2165562" y="2823209"/>
                  <a:ext cx="58014" cy="19337"/>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2" name="Honduras">
                  <a:extLst>
                    <a:ext uri="{FF2B5EF4-FFF2-40B4-BE49-F238E27FC236}">
                      <a16:creationId xmlns:a16="http://schemas.microsoft.com/office/drawing/2014/main" id="{5CAE8AEA-9A06-4364-BB7E-94A428D81D2A}"/>
                    </a:ext>
                  </a:extLst>
                </p:cNvPr>
                <p:cNvSpPr>
                  <a:spLocks/>
                </p:cNvSpPr>
                <p:nvPr/>
              </p:nvSpPr>
              <p:spPr bwMode="gray">
                <a:xfrm>
                  <a:off x="1863595" y="2896092"/>
                  <a:ext cx="169578" cy="92220"/>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3" name="Haiti">
                  <a:extLst>
                    <a:ext uri="{FF2B5EF4-FFF2-40B4-BE49-F238E27FC236}">
                      <a16:creationId xmlns:a16="http://schemas.microsoft.com/office/drawing/2014/main" id="{DA266215-1CD8-4E53-A53B-E3613DA89941}"/>
                    </a:ext>
                  </a:extLst>
                </p:cNvPr>
                <p:cNvSpPr>
                  <a:spLocks/>
                </p:cNvSpPr>
                <p:nvPr/>
              </p:nvSpPr>
              <p:spPr bwMode="gray">
                <a:xfrm>
                  <a:off x="2277127" y="2778586"/>
                  <a:ext cx="74377" cy="58010"/>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4" name="Guatemala">
                  <a:extLst>
                    <a:ext uri="{FF2B5EF4-FFF2-40B4-BE49-F238E27FC236}">
                      <a16:creationId xmlns:a16="http://schemas.microsoft.com/office/drawing/2014/main" id="{14CDA498-34E4-420F-AB12-02FA23E4C18B}"/>
                    </a:ext>
                  </a:extLst>
                </p:cNvPr>
                <p:cNvSpPr>
                  <a:spLocks/>
                </p:cNvSpPr>
                <p:nvPr/>
              </p:nvSpPr>
              <p:spPr bwMode="gray">
                <a:xfrm>
                  <a:off x="1786243" y="2838083"/>
                  <a:ext cx="111565" cy="126431"/>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5" name="El Salvador">
                  <a:extLst>
                    <a:ext uri="{FF2B5EF4-FFF2-40B4-BE49-F238E27FC236}">
                      <a16:creationId xmlns:a16="http://schemas.microsoft.com/office/drawing/2014/main" id="{F5AAAD13-A52F-483C-A79F-E1E8734E3F34}"/>
                    </a:ext>
                  </a:extLst>
                </p:cNvPr>
                <p:cNvSpPr>
                  <a:spLocks/>
                </p:cNvSpPr>
                <p:nvPr/>
              </p:nvSpPr>
              <p:spPr bwMode="gray">
                <a:xfrm>
                  <a:off x="1838306" y="2943690"/>
                  <a:ext cx="63964" cy="41648"/>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6" name="Dominican Republic">
                  <a:extLst>
                    <a:ext uri="{FF2B5EF4-FFF2-40B4-BE49-F238E27FC236}">
                      <a16:creationId xmlns:a16="http://schemas.microsoft.com/office/drawing/2014/main" id="{604BEB05-A53C-4CB2-A100-B06E2675129F}"/>
                    </a:ext>
                  </a:extLst>
                </p:cNvPr>
                <p:cNvSpPr>
                  <a:spLocks/>
                </p:cNvSpPr>
                <p:nvPr/>
              </p:nvSpPr>
              <p:spPr bwMode="gray">
                <a:xfrm>
                  <a:off x="2341090" y="2778586"/>
                  <a:ext cx="93715" cy="62472"/>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7" name="Cuba">
                  <a:extLst>
                    <a:ext uri="{FF2B5EF4-FFF2-40B4-BE49-F238E27FC236}">
                      <a16:creationId xmlns:a16="http://schemas.microsoft.com/office/drawing/2014/main" id="{366D9B56-4003-46C2-BB6E-344F6B83F269}"/>
                    </a:ext>
                  </a:extLst>
                </p:cNvPr>
                <p:cNvSpPr>
                  <a:spLocks noEditPoints="1"/>
                </p:cNvSpPr>
                <p:nvPr/>
              </p:nvSpPr>
              <p:spPr bwMode="gray">
                <a:xfrm>
                  <a:off x="2012347" y="2675955"/>
                  <a:ext cx="278168" cy="102633"/>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8" name="Costa Rica">
                  <a:extLst>
                    <a:ext uri="{FF2B5EF4-FFF2-40B4-BE49-F238E27FC236}">
                      <a16:creationId xmlns:a16="http://schemas.microsoft.com/office/drawing/2014/main" id="{F6B4E00D-EA28-4B87-82E7-85617E1459AB}"/>
                    </a:ext>
                  </a:extLst>
                </p:cNvPr>
                <p:cNvSpPr>
                  <a:spLocks/>
                </p:cNvSpPr>
                <p:nvPr/>
              </p:nvSpPr>
              <p:spPr bwMode="gray">
                <a:xfrm>
                  <a:off x="1942433" y="3041860"/>
                  <a:ext cx="90740" cy="86270"/>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9" name="Belize">
                  <a:extLst>
                    <a:ext uri="{FF2B5EF4-FFF2-40B4-BE49-F238E27FC236}">
                      <a16:creationId xmlns:a16="http://schemas.microsoft.com/office/drawing/2014/main" id="{DFEEEB4E-C7F0-4C45-961A-A1CF4B3738FA}"/>
                    </a:ext>
                  </a:extLst>
                </p:cNvPr>
                <p:cNvSpPr>
                  <a:spLocks/>
                </p:cNvSpPr>
                <p:nvPr/>
              </p:nvSpPr>
              <p:spPr bwMode="gray">
                <a:xfrm>
                  <a:off x="1871032" y="2820234"/>
                  <a:ext cx="41651" cy="80320"/>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0" name="Nepal">
                  <a:extLst>
                    <a:ext uri="{FF2B5EF4-FFF2-40B4-BE49-F238E27FC236}">
                      <a16:creationId xmlns:a16="http://schemas.microsoft.com/office/drawing/2014/main" id="{40AD40B9-C381-482D-82C3-86636B525E4B}"/>
                    </a:ext>
                  </a:extLst>
                </p:cNvPr>
                <p:cNvSpPr>
                  <a:spLocks/>
                </p:cNvSpPr>
                <p:nvPr/>
              </p:nvSpPr>
              <p:spPr bwMode="gray">
                <a:xfrm>
                  <a:off x="6320228" y="2455817"/>
                  <a:ext cx="221642" cy="124943"/>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1" name="Bhutan">
                  <a:extLst>
                    <a:ext uri="{FF2B5EF4-FFF2-40B4-BE49-F238E27FC236}">
                      <a16:creationId xmlns:a16="http://schemas.microsoft.com/office/drawing/2014/main" id="{734C1E5B-48EB-4BBD-8072-895924BF1F4E}"/>
                    </a:ext>
                  </a:extLst>
                </p:cNvPr>
                <p:cNvSpPr>
                  <a:spLocks/>
                </p:cNvSpPr>
                <p:nvPr/>
              </p:nvSpPr>
              <p:spPr bwMode="gray">
                <a:xfrm>
                  <a:off x="6555258" y="2521263"/>
                  <a:ext cx="87765" cy="50572"/>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2" name="Bangladesh">
                  <a:extLst>
                    <a:ext uri="{FF2B5EF4-FFF2-40B4-BE49-F238E27FC236}">
                      <a16:creationId xmlns:a16="http://schemas.microsoft.com/office/drawing/2014/main" id="{5D4CF77F-76E6-48B2-905D-6BA0DFAB848B}"/>
                    </a:ext>
                  </a:extLst>
                </p:cNvPr>
                <p:cNvSpPr>
                  <a:spLocks/>
                </p:cNvSpPr>
                <p:nvPr/>
              </p:nvSpPr>
              <p:spPr bwMode="gray">
                <a:xfrm>
                  <a:off x="6543357" y="2576297"/>
                  <a:ext cx="141316" cy="160641"/>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3" name="Greenland">
                  <a:extLst>
                    <a:ext uri="{FF2B5EF4-FFF2-40B4-BE49-F238E27FC236}">
                      <a16:creationId xmlns:a16="http://schemas.microsoft.com/office/drawing/2014/main" id="{B554BA93-9FFF-4AC4-B230-30B647E847C9}"/>
                    </a:ext>
                  </a:extLst>
                </p:cNvPr>
                <p:cNvSpPr>
                  <a:spLocks noEditPoints="1"/>
                </p:cNvSpPr>
                <p:nvPr/>
              </p:nvSpPr>
              <p:spPr bwMode="gray">
                <a:xfrm>
                  <a:off x="3086343" y="1011533"/>
                  <a:ext cx="1057633" cy="575632"/>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4" name="Ukraine">
                  <a:extLst>
                    <a:ext uri="{FF2B5EF4-FFF2-40B4-BE49-F238E27FC236}">
                      <a16:creationId xmlns:a16="http://schemas.microsoft.com/office/drawing/2014/main" id="{ECB3EE66-4E9C-4102-A110-84FDE7C346FE}"/>
                    </a:ext>
                  </a:extLst>
                </p:cNvPr>
                <p:cNvSpPr>
                  <a:spLocks/>
                </p:cNvSpPr>
                <p:nvPr/>
              </p:nvSpPr>
              <p:spPr bwMode="gray">
                <a:xfrm>
                  <a:off x="4794026" y="1799866"/>
                  <a:ext cx="422458" cy="236500"/>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5" name="Russia">
                  <a:extLst>
                    <a:ext uri="{FF2B5EF4-FFF2-40B4-BE49-F238E27FC236}">
                      <a16:creationId xmlns:a16="http://schemas.microsoft.com/office/drawing/2014/main" id="{CA9E2531-3A72-4FFB-8473-36850A249C45}"/>
                    </a:ext>
                  </a:extLst>
                </p:cNvPr>
                <p:cNvSpPr>
                  <a:spLocks noEditPoints="1"/>
                </p:cNvSpPr>
                <p:nvPr/>
              </p:nvSpPr>
              <p:spPr bwMode="gray">
                <a:xfrm>
                  <a:off x="4730061" y="1044256"/>
                  <a:ext cx="3410902" cy="1085816"/>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6" name="Romania">
                  <a:extLst>
                    <a:ext uri="{FF2B5EF4-FFF2-40B4-BE49-F238E27FC236}">
                      <a16:creationId xmlns:a16="http://schemas.microsoft.com/office/drawing/2014/main" id="{74CCE90D-3DAC-4226-9F62-72B3EBA21634}"/>
                    </a:ext>
                  </a:extLst>
                </p:cNvPr>
                <p:cNvSpPr>
                  <a:spLocks/>
                </p:cNvSpPr>
                <p:nvPr/>
              </p:nvSpPr>
              <p:spPr bwMode="gray">
                <a:xfrm>
                  <a:off x="4750887" y="1920346"/>
                  <a:ext cx="232055" cy="138331"/>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7" name="Moldova">
                  <a:extLst>
                    <a:ext uri="{FF2B5EF4-FFF2-40B4-BE49-F238E27FC236}">
                      <a16:creationId xmlns:a16="http://schemas.microsoft.com/office/drawing/2014/main" id="{8D1F05AF-6FDB-4772-B786-32B10B50359A}"/>
                    </a:ext>
                  </a:extLst>
                </p:cNvPr>
                <p:cNvSpPr>
                  <a:spLocks/>
                </p:cNvSpPr>
                <p:nvPr/>
              </p:nvSpPr>
              <p:spPr bwMode="gray">
                <a:xfrm>
                  <a:off x="4902614" y="1914396"/>
                  <a:ext cx="80327" cy="89245"/>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8" name="Lithuania">
                  <a:extLst>
                    <a:ext uri="{FF2B5EF4-FFF2-40B4-BE49-F238E27FC236}">
                      <a16:creationId xmlns:a16="http://schemas.microsoft.com/office/drawing/2014/main" id="{2F54FE20-A1E1-40E9-8087-8B45C627C1BB}"/>
                    </a:ext>
                  </a:extLst>
                </p:cNvPr>
                <p:cNvSpPr>
                  <a:spLocks/>
                </p:cNvSpPr>
                <p:nvPr/>
              </p:nvSpPr>
              <p:spPr bwMode="gray">
                <a:xfrm>
                  <a:off x="4753862" y="1680871"/>
                  <a:ext cx="129416" cy="74371"/>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9" name="Latvia">
                  <a:extLst>
                    <a:ext uri="{FF2B5EF4-FFF2-40B4-BE49-F238E27FC236}">
                      <a16:creationId xmlns:a16="http://schemas.microsoft.com/office/drawing/2014/main" id="{2C7626F1-2169-4067-9A7A-773FB7D83B4A}"/>
                    </a:ext>
                  </a:extLst>
                </p:cNvPr>
                <p:cNvSpPr>
                  <a:spLocks/>
                </p:cNvSpPr>
                <p:nvPr/>
              </p:nvSpPr>
              <p:spPr bwMode="gray">
                <a:xfrm>
                  <a:off x="4750887" y="1634762"/>
                  <a:ext cx="160653" cy="68421"/>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0" name="Estonia">
                  <a:extLst>
                    <a:ext uri="{FF2B5EF4-FFF2-40B4-BE49-F238E27FC236}">
                      <a16:creationId xmlns:a16="http://schemas.microsoft.com/office/drawing/2014/main" id="{0D95B682-6DCD-4D47-8546-9E847EA98432}"/>
                    </a:ext>
                  </a:extLst>
                </p:cNvPr>
                <p:cNvSpPr>
                  <a:spLocks noEditPoints="1"/>
                </p:cNvSpPr>
                <p:nvPr/>
              </p:nvSpPr>
              <p:spPr bwMode="gray">
                <a:xfrm>
                  <a:off x="4764275" y="1593114"/>
                  <a:ext cx="132391" cy="58010"/>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1" name="Bulgaria">
                  <a:extLst>
                    <a:ext uri="{FF2B5EF4-FFF2-40B4-BE49-F238E27FC236}">
                      <a16:creationId xmlns:a16="http://schemas.microsoft.com/office/drawing/2014/main" id="{5BB232AE-3DC2-4DAA-B7FD-D59284F62050}"/>
                    </a:ext>
                  </a:extLst>
                </p:cNvPr>
                <p:cNvSpPr>
                  <a:spLocks/>
                </p:cNvSpPr>
                <p:nvPr/>
              </p:nvSpPr>
              <p:spPr bwMode="gray">
                <a:xfrm>
                  <a:off x="4808901" y="2042314"/>
                  <a:ext cx="148753" cy="84783"/>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2" name="Belarus">
                  <a:extLst>
                    <a:ext uri="{FF2B5EF4-FFF2-40B4-BE49-F238E27FC236}">
                      <a16:creationId xmlns:a16="http://schemas.microsoft.com/office/drawing/2014/main" id="{206FA845-492F-4D5A-A14B-B691EF1D7150}"/>
                    </a:ext>
                  </a:extLst>
                </p:cNvPr>
                <p:cNvSpPr>
                  <a:spLocks/>
                </p:cNvSpPr>
                <p:nvPr/>
              </p:nvSpPr>
              <p:spPr bwMode="gray">
                <a:xfrm>
                  <a:off x="4810388" y="1689796"/>
                  <a:ext cx="215692" cy="139818"/>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3" name="New Zealand">
                  <a:extLst>
                    <a:ext uri="{FF2B5EF4-FFF2-40B4-BE49-F238E27FC236}">
                      <a16:creationId xmlns:a16="http://schemas.microsoft.com/office/drawing/2014/main" id="{40562D8E-1B33-4C8B-BB6A-EDBA712EDFDC}"/>
                    </a:ext>
                  </a:extLst>
                </p:cNvPr>
                <p:cNvSpPr>
                  <a:spLocks noEditPoints="1"/>
                </p:cNvSpPr>
                <p:nvPr/>
              </p:nvSpPr>
              <p:spPr bwMode="gray">
                <a:xfrm>
                  <a:off x="8243602" y="4425158"/>
                  <a:ext cx="478984" cy="370367"/>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4" name="Australia">
                  <a:extLst>
                    <a:ext uri="{FF2B5EF4-FFF2-40B4-BE49-F238E27FC236}">
                      <a16:creationId xmlns:a16="http://schemas.microsoft.com/office/drawing/2014/main" id="{AE1F84A7-9D42-43BD-87AF-7F7ECA40203D}"/>
                    </a:ext>
                  </a:extLst>
                </p:cNvPr>
                <p:cNvSpPr>
                  <a:spLocks noEditPoints="1"/>
                </p:cNvSpPr>
                <p:nvPr/>
              </p:nvSpPr>
              <p:spPr bwMode="gray">
                <a:xfrm>
                  <a:off x="7159194" y="3705247"/>
                  <a:ext cx="1071020" cy="1004007"/>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5" name="Uruguay">
                  <a:extLst>
                    <a:ext uri="{FF2B5EF4-FFF2-40B4-BE49-F238E27FC236}">
                      <a16:creationId xmlns:a16="http://schemas.microsoft.com/office/drawing/2014/main" id="{C498C24E-6E47-4C8E-BD02-5F700281F8F8}"/>
                    </a:ext>
                  </a:extLst>
                </p:cNvPr>
                <p:cNvSpPr>
                  <a:spLocks/>
                </p:cNvSpPr>
                <p:nvPr/>
              </p:nvSpPr>
              <p:spPr bwMode="gray">
                <a:xfrm>
                  <a:off x="2757598" y="4298727"/>
                  <a:ext cx="138341" cy="144280"/>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6" name="Suriname">
                  <a:extLst>
                    <a:ext uri="{FF2B5EF4-FFF2-40B4-BE49-F238E27FC236}">
                      <a16:creationId xmlns:a16="http://schemas.microsoft.com/office/drawing/2014/main" id="{DAFE1CD9-1CC8-4C75-AB2A-B15920A2709C}"/>
                    </a:ext>
                  </a:extLst>
                </p:cNvPr>
                <p:cNvSpPr>
                  <a:spLocks/>
                </p:cNvSpPr>
                <p:nvPr/>
              </p:nvSpPr>
              <p:spPr bwMode="gray">
                <a:xfrm>
                  <a:off x="2681734" y="3201013"/>
                  <a:ext cx="110077" cy="126431"/>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7" name="Guyana">
                  <a:extLst>
                    <a:ext uri="{FF2B5EF4-FFF2-40B4-BE49-F238E27FC236}">
                      <a16:creationId xmlns:a16="http://schemas.microsoft.com/office/drawing/2014/main" id="{A0F656AD-7B80-4687-9601-18D0B9F86D59}"/>
                    </a:ext>
                  </a:extLst>
                </p:cNvPr>
                <p:cNvSpPr>
                  <a:spLocks/>
                </p:cNvSpPr>
                <p:nvPr/>
              </p:nvSpPr>
              <p:spPr bwMode="gray">
                <a:xfrm>
                  <a:off x="2592483" y="3125154"/>
                  <a:ext cx="121977" cy="220138"/>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8" name="Morocco">
                  <a:extLst>
                    <a:ext uri="{FF2B5EF4-FFF2-40B4-BE49-F238E27FC236}">
                      <a16:creationId xmlns:a16="http://schemas.microsoft.com/office/drawing/2014/main" id="{662CE3EC-CF3A-42FE-A77B-DB74D0E4E39B}"/>
                    </a:ext>
                  </a:extLst>
                </p:cNvPr>
                <p:cNvSpPr>
                  <a:spLocks/>
                </p:cNvSpPr>
                <p:nvPr/>
              </p:nvSpPr>
              <p:spPr bwMode="gray">
                <a:xfrm>
                  <a:off x="3904482" y="2292200"/>
                  <a:ext cx="321306" cy="249886"/>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9" name="Egypt">
                  <a:extLst>
                    <a:ext uri="{FF2B5EF4-FFF2-40B4-BE49-F238E27FC236}">
                      <a16:creationId xmlns:a16="http://schemas.microsoft.com/office/drawing/2014/main" id="{8AEC467D-9888-4FE4-A18B-7D2A25146261}"/>
                    </a:ext>
                  </a:extLst>
                </p:cNvPr>
                <p:cNvSpPr>
                  <a:spLocks/>
                </p:cNvSpPr>
                <p:nvPr/>
              </p:nvSpPr>
              <p:spPr bwMode="gray">
                <a:xfrm>
                  <a:off x="4886251" y="2420119"/>
                  <a:ext cx="297505" cy="303433"/>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80" name="Congo (Brazzaville)">
                  <a:extLst>
                    <a:ext uri="{FF2B5EF4-FFF2-40B4-BE49-F238E27FC236}">
                      <a16:creationId xmlns:a16="http://schemas.microsoft.com/office/drawing/2014/main" id="{2950A608-CC7E-450B-8F80-A34B7073139E}"/>
                    </a:ext>
                  </a:extLst>
                </p:cNvPr>
                <p:cNvSpPr>
                  <a:spLocks/>
                </p:cNvSpPr>
                <p:nvPr/>
              </p:nvSpPr>
              <p:spPr bwMode="gray">
                <a:xfrm>
                  <a:off x="4536681" y="3269435"/>
                  <a:ext cx="202304" cy="263274"/>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1" name="Algeria">
                  <a:extLst>
                    <a:ext uri="{FF2B5EF4-FFF2-40B4-BE49-F238E27FC236}">
                      <a16:creationId xmlns:a16="http://schemas.microsoft.com/office/drawing/2014/main" id="{4A59E6B5-EC6B-4498-9380-BF95EB9F21B0}"/>
                    </a:ext>
                  </a:extLst>
                </p:cNvPr>
                <p:cNvSpPr>
                  <a:spLocks/>
                </p:cNvSpPr>
                <p:nvPr/>
              </p:nvSpPr>
              <p:spPr bwMode="gray">
                <a:xfrm>
                  <a:off x="4002660" y="2253527"/>
                  <a:ext cx="557823" cy="550344"/>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82" name="Namibia">
                  <a:extLst>
                    <a:ext uri="{FF2B5EF4-FFF2-40B4-BE49-F238E27FC236}">
                      <a16:creationId xmlns:a16="http://schemas.microsoft.com/office/drawing/2014/main" id="{BBCB8D39-53C2-41FA-BF4D-8DBC1967E29D}"/>
                    </a:ext>
                  </a:extLst>
                </p:cNvPr>
                <p:cNvSpPr>
                  <a:spLocks/>
                </p:cNvSpPr>
                <p:nvPr/>
              </p:nvSpPr>
              <p:spPr bwMode="gray">
                <a:xfrm>
                  <a:off x="4551558" y="3897124"/>
                  <a:ext cx="359981" cy="367392"/>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3" name="Mongolia">
                  <a:extLst>
                    <a:ext uri="{FF2B5EF4-FFF2-40B4-BE49-F238E27FC236}">
                      <a16:creationId xmlns:a16="http://schemas.microsoft.com/office/drawing/2014/main" id="{C9F05576-A5BC-40F6-80F1-959FA4FDA93D}"/>
                    </a:ext>
                  </a:extLst>
                </p:cNvPr>
                <p:cNvSpPr>
                  <a:spLocks/>
                </p:cNvSpPr>
                <p:nvPr/>
              </p:nvSpPr>
              <p:spPr bwMode="gray">
                <a:xfrm>
                  <a:off x="6333616" y="1804327"/>
                  <a:ext cx="791364" cy="313846"/>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4" name="Mexico">
                  <a:extLst>
                    <a:ext uri="{FF2B5EF4-FFF2-40B4-BE49-F238E27FC236}">
                      <a16:creationId xmlns:a16="http://schemas.microsoft.com/office/drawing/2014/main" id="{3DE22E15-1A1E-4633-B5C5-DE0F8ADA3932}"/>
                    </a:ext>
                  </a:extLst>
                </p:cNvPr>
                <p:cNvSpPr>
                  <a:spLocks/>
                </p:cNvSpPr>
                <p:nvPr/>
              </p:nvSpPr>
              <p:spPr bwMode="gray">
                <a:xfrm>
                  <a:off x="1258170" y="2390371"/>
                  <a:ext cx="702113" cy="550344"/>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85" name="Kazakhstan">
                  <a:extLst>
                    <a:ext uri="{FF2B5EF4-FFF2-40B4-BE49-F238E27FC236}">
                      <a16:creationId xmlns:a16="http://schemas.microsoft.com/office/drawing/2014/main" id="{2351DFB0-E3DE-4D24-8F5D-6100C4D38BCD}"/>
                    </a:ext>
                  </a:extLst>
                </p:cNvPr>
                <p:cNvSpPr>
                  <a:spLocks noEditPoints="1"/>
                </p:cNvSpPr>
                <p:nvPr/>
              </p:nvSpPr>
              <p:spPr bwMode="gray">
                <a:xfrm>
                  <a:off x="5369698" y="1712108"/>
                  <a:ext cx="947555" cy="438789"/>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6" name="South Africa">
                  <a:extLst>
                    <a:ext uri="{FF2B5EF4-FFF2-40B4-BE49-F238E27FC236}">
                      <a16:creationId xmlns:a16="http://schemas.microsoft.com/office/drawing/2014/main" id="{40B93A0F-B49B-4493-BADC-2812E958238A}"/>
                    </a:ext>
                  </a:extLst>
                </p:cNvPr>
                <p:cNvSpPr>
                  <a:spLocks noEditPoints="1"/>
                </p:cNvSpPr>
                <p:nvPr/>
              </p:nvSpPr>
              <p:spPr bwMode="gray">
                <a:xfrm>
                  <a:off x="4675022" y="4056279"/>
                  <a:ext cx="426921" cy="385242"/>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387" name="Gruppieren 306">
                  <a:extLst>
                    <a:ext uri="{FF2B5EF4-FFF2-40B4-BE49-F238E27FC236}">
                      <a16:creationId xmlns:a16="http://schemas.microsoft.com/office/drawing/2014/main" id="{DB52C5EA-8BA4-41CE-AB99-43A853CB410C}"/>
                    </a:ext>
                  </a:extLst>
                </p:cNvPr>
                <p:cNvGrpSpPr/>
                <p:nvPr/>
              </p:nvGrpSpPr>
              <p:grpSpPr>
                <a:xfrm>
                  <a:off x="5148056" y="2371033"/>
                  <a:ext cx="575674" cy="514648"/>
                  <a:chOff x="6753095" y="3090254"/>
                  <a:chExt cx="659267" cy="589396"/>
                </a:xfrm>
                <a:solidFill>
                  <a:schemeClr val="bg1">
                    <a:lumMod val="85000"/>
                  </a:schemeClr>
                </a:solidFill>
              </p:grpSpPr>
              <p:sp>
                <p:nvSpPr>
                  <p:cNvPr id="473" name="West Bank">
                    <a:extLst>
                      <a:ext uri="{FF2B5EF4-FFF2-40B4-BE49-F238E27FC236}">
                        <a16:creationId xmlns:a16="http://schemas.microsoft.com/office/drawing/2014/main" id="{5B334E71-8A75-494F-BEC2-D7BEA2BF8F43}"/>
                      </a:ext>
                    </a:extLst>
                  </p:cNvPr>
                  <p:cNvSpPr>
                    <a:spLocks/>
                  </p:cNvSpPr>
                  <p:nvPr/>
                </p:nvSpPr>
                <p:spPr bwMode="gray">
                  <a:xfrm>
                    <a:off x="6753095" y="3119214"/>
                    <a:ext cx="18739" cy="40883"/>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4" name="United Arab Emirates">
                    <a:extLst>
                      <a:ext uri="{FF2B5EF4-FFF2-40B4-BE49-F238E27FC236}">
                        <a16:creationId xmlns:a16="http://schemas.microsoft.com/office/drawing/2014/main" id="{C9086402-09D5-46A2-8221-CC40942EB45C}"/>
                      </a:ext>
                    </a:extLst>
                  </p:cNvPr>
                  <p:cNvSpPr>
                    <a:spLocks/>
                  </p:cNvSpPr>
                  <p:nvPr/>
                </p:nvSpPr>
                <p:spPr bwMode="gray">
                  <a:xfrm>
                    <a:off x="7265858" y="3325331"/>
                    <a:ext cx="146504" cy="137980"/>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5" name="Saudi Arabia">
                    <a:extLst>
                      <a:ext uri="{FF2B5EF4-FFF2-40B4-BE49-F238E27FC236}">
                        <a16:creationId xmlns:a16="http://schemas.microsoft.com/office/drawing/2014/main" id="{21B6F2FC-B42C-460F-A022-AA7F0D984582}"/>
                      </a:ext>
                    </a:extLst>
                  </p:cNvPr>
                  <p:cNvSpPr>
                    <a:spLocks/>
                  </p:cNvSpPr>
                  <p:nvPr/>
                </p:nvSpPr>
                <p:spPr bwMode="gray">
                  <a:xfrm>
                    <a:off x="6753095" y="3129434"/>
                    <a:ext cx="642232" cy="550216"/>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6" name="Kuwait">
                    <a:extLst>
                      <a:ext uri="{FF2B5EF4-FFF2-40B4-BE49-F238E27FC236}">
                        <a16:creationId xmlns:a16="http://schemas.microsoft.com/office/drawing/2014/main" id="{5E314C4D-69E3-4D4B-AB15-FFB54381969C}"/>
                      </a:ext>
                    </a:extLst>
                  </p:cNvPr>
                  <p:cNvSpPr>
                    <a:spLocks/>
                  </p:cNvSpPr>
                  <p:nvPr/>
                </p:nvSpPr>
                <p:spPr bwMode="gray">
                  <a:xfrm>
                    <a:off x="7102319" y="3202682"/>
                    <a:ext cx="59624" cy="52808"/>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7" name="Jordan">
                    <a:extLst>
                      <a:ext uri="{FF2B5EF4-FFF2-40B4-BE49-F238E27FC236}">
                        <a16:creationId xmlns:a16="http://schemas.microsoft.com/office/drawing/2014/main" id="{2EEB1089-801A-41FD-A1CF-29D1D5C14022}"/>
                      </a:ext>
                    </a:extLst>
                  </p:cNvPr>
                  <p:cNvSpPr>
                    <a:spLocks/>
                  </p:cNvSpPr>
                  <p:nvPr/>
                </p:nvSpPr>
                <p:spPr bwMode="gray">
                  <a:xfrm>
                    <a:off x="6758205" y="3090254"/>
                    <a:ext cx="120951" cy="144794"/>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8" name="Bahrain">
                    <a:extLst>
                      <a:ext uri="{FF2B5EF4-FFF2-40B4-BE49-F238E27FC236}">
                        <a16:creationId xmlns:a16="http://schemas.microsoft.com/office/drawing/2014/main" id="{878270F8-0BF5-44A1-B88F-2C8EF90964A2}"/>
                      </a:ext>
                    </a:extLst>
                  </p:cNvPr>
                  <p:cNvSpPr>
                    <a:spLocks/>
                  </p:cNvSpPr>
                  <p:nvPr/>
                </p:nvSpPr>
                <p:spPr bwMode="gray">
                  <a:xfrm>
                    <a:off x="7235194" y="3327035"/>
                    <a:ext cx="11925" cy="23848"/>
                  </a:xfrm>
                  <a:custGeom>
                    <a:avLst/>
                    <a:gdLst>
                      <a:gd name="T0" fmla="*/ 2147483647 w 15"/>
                      <a:gd name="T1" fmla="*/ 0 h 28"/>
                      <a:gd name="T2" fmla="*/ 2147483647 w 15"/>
                      <a:gd name="T3" fmla="*/ 2147483647 h 28"/>
                      <a:gd name="T4" fmla="*/ 2147483647 w 15"/>
                      <a:gd name="T5" fmla="*/ 2147483647 h 28"/>
                      <a:gd name="T6" fmla="*/ 2033064304 w 15"/>
                      <a:gd name="T7" fmla="*/ 2147483647 h 28"/>
                      <a:gd name="T8" fmla="*/ 813445092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grpFill/>
                  <a:ln w="3175">
                    <a:solidFill>
                      <a:schemeClr val="bg1">
                        <a:lumMod val="85000"/>
                      </a:schemeClr>
                    </a:solidFill>
                    <a:round/>
                    <a:headEnd/>
                    <a:tailEnd/>
                  </a:ln>
                </p:spPr>
                <p:txBody>
                  <a:bodyPr/>
                  <a:lstStyle/>
                  <a:p>
                    <a:endParaRPr lang="en-US" dirty="0">
                      <a:latin typeface="Calibri" pitchFamily="34" charset="0"/>
                      <a:cs typeface="Calibri" pitchFamily="34" charset="0"/>
                    </a:endParaRPr>
                  </a:p>
                </p:txBody>
              </p:sp>
            </p:grpSp>
            <p:grpSp>
              <p:nvGrpSpPr>
                <p:cNvPr id="388" name="Gruppieren 307">
                  <a:extLst>
                    <a:ext uri="{FF2B5EF4-FFF2-40B4-BE49-F238E27FC236}">
                      <a16:creationId xmlns:a16="http://schemas.microsoft.com/office/drawing/2014/main" id="{3A0F49AD-6A01-43FC-92FA-4E3FBA490336}"/>
                    </a:ext>
                  </a:extLst>
                </p:cNvPr>
                <p:cNvGrpSpPr/>
                <p:nvPr/>
              </p:nvGrpSpPr>
              <p:grpSpPr>
                <a:xfrm>
                  <a:off x="5237308" y="2002154"/>
                  <a:ext cx="992181" cy="652977"/>
                  <a:chOff x="6855307" y="2667798"/>
                  <a:chExt cx="1136255" cy="747816"/>
                </a:xfrm>
                <a:solidFill>
                  <a:schemeClr val="bg1">
                    <a:lumMod val="85000"/>
                  </a:schemeClr>
                </a:solidFill>
              </p:grpSpPr>
              <p:sp>
                <p:nvSpPr>
                  <p:cNvPr id="464" name="Uzbekistan">
                    <a:extLst>
                      <a:ext uri="{FF2B5EF4-FFF2-40B4-BE49-F238E27FC236}">
                        <a16:creationId xmlns:a16="http://schemas.microsoft.com/office/drawing/2014/main" id="{C5DE1825-0285-4F5B-B41C-4DF47F76A42F}"/>
                      </a:ext>
                    </a:extLst>
                  </p:cNvPr>
                  <p:cNvSpPr>
                    <a:spLocks/>
                  </p:cNvSpPr>
                  <p:nvPr/>
                </p:nvSpPr>
                <p:spPr bwMode="gray">
                  <a:xfrm>
                    <a:off x="7288003" y="2667798"/>
                    <a:ext cx="512763" cy="287884"/>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5" name="Turkmenistan">
                    <a:extLst>
                      <a:ext uri="{FF2B5EF4-FFF2-40B4-BE49-F238E27FC236}">
                        <a16:creationId xmlns:a16="http://schemas.microsoft.com/office/drawing/2014/main" id="{24B769E1-C378-4D72-8F51-97C6A3D8B725}"/>
                      </a:ext>
                    </a:extLst>
                  </p:cNvPr>
                  <p:cNvSpPr>
                    <a:spLocks/>
                  </p:cNvSpPr>
                  <p:nvPr/>
                </p:nvSpPr>
                <p:spPr bwMode="gray">
                  <a:xfrm>
                    <a:off x="7211345" y="2761488"/>
                    <a:ext cx="434401" cy="260629"/>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6" name="Tajikistan">
                    <a:extLst>
                      <a:ext uri="{FF2B5EF4-FFF2-40B4-BE49-F238E27FC236}">
                        <a16:creationId xmlns:a16="http://schemas.microsoft.com/office/drawing/2014/main" id="{30333CE7-F596-415E-B906-F9714BF3427A}"/>
                      </a:ext>
                    </a:extLst>
                  </p:cNvPr>
                  <p:cNvSpPr>
                    <a:spLocks/>
                  </p:cNvSpPr>
                  <p:nvPr/>
                </p:nvSpPr>
                <p:spPr bwMode="gray">
                  <a:xfrm>
                    <a:off x="7650856" y="2822812"/>
                    <a:ext cx="238494" cy="151608"/>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7" name="Pakistan">
                    <a:extLst>
                      <a:ext uri="{FF2B5EF4-FFF2-40B4-BE49-F238E27FC236}">
                        <a16:creationId xmlns:a16="http://schemas.microsoft.com/office/drawing/2014/main" id="{734623CB-D04A-4B35-809C-B9CE71335666}"/>
                      </a:ext>
                    </a:extLst>
                  </p:cNvPr>
                  <p:cNvSpPr>
                    <a:spLocks/>
                  </p:cNvSpPr>
                  <p:nvPr/>
                </p:nvSpPr>
                <p:spPr bwMode="gray">
                  <a:xfrm>
                    <a:off x="7524795" y="2960792"/>
                    <a:ext cx="454843" cy="454822"/>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8" name="Kyrgyzstan">
                    <a:extLst>
                      <a:ext uri="{FF2B5EF4-FFF2-40B4-BE49-F238E27FC236}">
                        <a16:creationId xmlns:a16="http://schemas.microsoft.com/office/drawing/2014/main" id="{9B6CA91B-80A1-4254-9994-04C76F638D66}"/>
                      </a:ext>
                    </a:extLst>
                  </p:cNvPr>
                  <p:cNvSpPr>
                    <a:spLocks/>
                  </p:cNvSpPr>
                  <p:nvPr/>
                </p:nvSpPr>
                <p:spPr bwMode="gray">
                  <a:xfrm>
                    <a:off x="7700258" y="2747860"/>
                    <a:ext cx="291304" cy="134573"/>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9" name="Georgia">
                    <a:extLst>
                      <a:ext uri="{FF2B5EF4-FFF2-40B4-BE49-F238E27FC236}">
                        <a16:creationId xmlns:a16="http://schemas.microsoft.com/office/drawing/2014/main" id="{3065339D-F6FB-4980-AB1F-E82CE90B272E}"/>
                      </a:ext>
                    </a:extLst>
                  </p:cNvPr>
                  <p:cNvSpPr>
                    <a:spLocks/>
                  </p:cNvSpPr>
                  <p:nvPr/>
                </p:nvSpPr>
                <p:spPr bwMode="gray">
                  <a:xfrm>
                    <a:off x="6855307" y="2732529"/>
                    <a:ext cx="199314" cy="90284"/>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0" name="Azerbaijan">
                    <a:extLst>
                      <a:ext uri="{FF2B5EF4-FFF2-40B4-BE49-F238E27FC236}">
                        <a16:creationId xmlns:a16="http://schemas.microsoft.com/office/drawing/2014/main" id="{EAC67F19-FFD3-4359-9FFF-09E3ED079A75}"/>
                      </a:ext>
                    </a:extLst>
                  </p:cNvPr>
                  <p:cNvSpPr>
                    <a:spLocks noEditPoints="1"/>
                  </p:cNvSpPr>
                  <p:nvPr/>
                </p:nvSpPr>
                <p:spPr bwMode="gray">
                  <a:xfrm>
                    <a:off x="7006921" y="2790447"/>
                    <a:ext cx="155022" cy="126055"/>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1" name="Armenia">
                    <a:extLst>
                      <a:ext uri="{FF2B5EF4-FFF2-40B4-BE49-F238E27FC236}">
                        <a16:creationId xmlns:a16="http://schemas.microsoft.com/office/drawing/2014/main" id="{653A40F7-6E18-4E5C-8FDA-632EA0A71A04}"/>
                      </a:ext>
                    </a:extLst>
                  </p:cNvPr>
                  <p:cNvSpPr>
                    <a:spLocks/>
                  </p:cNvSpPr>
                  <p:nvPr/>
                </p:nvSpPr>
                <p:spPr bwMode="gray">
                  <a:xfrm>
                    <a:off x="6962630" y="2809184"/>
                    <a:ext cx="97102" cy="91986"/>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2" name="Afghanistan">
                    <a:extLst>
                      <a:ext uri="{FF2B5EF4-FFF2-40B4-BE49-F238E27FC236}">
                        <a16:creationId xmlns:a16="http://schemas.microsoft.com/office/drawing/2014/main" id="{D5FF47AA-95C7-407C-99B8-9104DCC659E5}"/>
                      </a:ext>
                    </a:extLst>
                  </p:cNvPr>
                  <p:cNvSpPr>
                    <a:spLocks/>
                  </p:cNvSpPr>
                  <p:nvPr/>
                </p:nvSpPr>
                <p:spPr bwMode="gray">
                  <a:xfrm>
                    <a:off x="7485613" y="2907984"/>
                    <a:ext cx="391812" cy="318546"/>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sp>
              <p:nvSpPr>
                <p:cNvPr id="389" name="Newfoundland">
                  <a:extLst>
                    <a:ext uri="{FF2B5EF4-FFF2-40B4-BE49-F238E27FC236}">
                      <a16:creationId xmlns:a16="http://schemas.microsoft.com/office/drawing/2014/main" id="{A61782D1-1EE0-4BC7-B39A-E8E39D1ED159}"/>
                    </a:ext>
                  </a:extLst>
                </p:cNvPr>
                <p:cNvSpPr>
                  <a:spLocks/>
                </p:cNvSpPr>
                <p:nvPr/>
              </p:nvSpPr>
              <p:spPr bwMode="gray">
                <a:xfrm>
                  <a:off x="2867676" y="1825152"/>
                  <a:ext cx="160653" cy="144280"/>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0" name="United Kingdom">
                  <a:extLst>
                    <a:ext uri="{FF2B5EF4-FFF2-40B4-BE49-F238E27FC236}">
                      <a16:creationId xmlns:a16="http://schemas.microsoft.com/office/drawing/2014/main" id="{C910A1F7-9497-449F-8C5C-FB3D98EEB50E}"/>
                    </a:ext>
                  </a:extLst>
                </p:cNvPr>
                <p:cNvSpPr>
                  <a:spLocks noEditPoints="1"/>
                </p:cNvSpPr>
                <p:nvPr/>
              </p:nvSpPr>
              <p:spPr bwMode="gray">
                <a:xfrm>
                  <a:off x="4099349" y="1560391"/>
                  <a:ext cx="218667" cy="310871"/>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1" name="Switzerland">
                  <a:extLst>
                    <a:ext uri="{FF2B5EF4-FFF2-40B4-BE49-F238E27FC236}">
                      <a16:creationId xmlns:a16="http://schemas.microsoft.com/office/drawing/2014/main" id="{CA09C77C-3EA4-4490-B0CD-FD9C3791CB28}"/>
                    </a:ext>
                  </a:extLst>
                </p:cNvPr>
                <p:cNvSpPr>
                  <a:spLocks/>
                </p:cNvSpPr>
                <p:nvPr/>
              </p:nvSpPr>
              <p:spPr bwMode="gray">
                <a:xfrm>
                  <a:off x="4411730" y="1932245"/>
                  <a:ext cx="110077" cy="59497"/>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2" name="Sweden">
                  <a:extLst>
                    <a:ext uri="{FF2B5EF4-FFF2-40B4-BE49-F238E27FC236}">
                      <a16:creationId xmlns:a16="http://schemas.microsoft.com/office/drawing/2014/main" id="{05D16E67-4760-48F9-8D08-38BF2D368D3B}"/>
                    </a:ext>
                  </a:extLst>
                </p:cNvPr>
                <p:cNvSpPr>
                  <a:spLocks noEditPoints="1"/>
                </p:cNvSpPr>
                <p:nvPr/>
              </p:nvSpPr>
              <p:spPr bwMode="gray">
                <a:xfrm>
                  <a:off x="4536682" y="1338765"/>
                  <a:ext cx="260317" cy="373342"/>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3" name="Spain">
                  <a:extLst>
                    <a:ext uri="{FF2B5EF4-FFF2-40B4-BE49-F238E27FC236}">
                      <a16:creationId xmlns:a16="http://schemas.microsoft.com/office/drawing/2014/main" id="{F5E0F092-0182-4785-BB49-7CDA27AF2CA5}"/>
                    </a:ext>
                  </a:extLst>
                </p:cNvPr>
                <p:cNvSpPr>
                  <a:spLocks noEditPoints="1"/>
                </p:cNvSpPr>
                <p:nvPr/>
              </p:nvSpPr>
              <p:spPr bwMode="gray">
                <a:xfrm>
                  <a:off x="4036873" y="2054214"/>
                  <a:ext cx="330231" cy="232038"/>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4" name="Slovenia">
                  <a:extLst>
                    <a:ext uri="{FF2B5EF4-FFF2-40B4-BE49-F238E27FC236}">
                      <a16:creationId xmlns:a16="http://schemas.microsoft.com/office/drawing/2014/main" id="{35F299D5-A351-4E88-AB3E-1E160897CE5F}"/>
                    </a:ext>
                  </a:extLst>
                </p:cNvPr>
                <p:cNvSpPr>
                  <a:spLocks/>
                </p:cNvSpPr>
                <p:nvPr/>
              </p:nvSpPr>
              <p:spPr bwMode="gray">
                <a:xfrm>
                  <a:off x="4585771" y="1957532"/>
                  <a:ext cx="80327" cy="46111"/>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5" name="Slovakia">
                  <a:extLst>
                    <a:ext uri="{FF2B5EF4-FFF2-40B4-BE49-F238E27FC236}">
                      <a16:creationId xmlns:a16="http://schemas.microsoft.com/office/drawing/2014/main" id="{918D5991-0503-4FE5-AB58-CA83AFB45B8B}"/>
                    </a:ext>
                  </a:extLst>
                </p:cNvPr>
                <p:cNvSpPr>
                  <a:spLocks/>
                </p:cNvSpPr>
                <p:nvPr/>
              </p:nvSpPr>
              <p:spPr bwMode="gray">
                <a:xfrm>
                  <a:off x="4667585" y="1881673"/>
                  <a:ext cx="133878" cy="55035"/>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6" name="Portugal">
                  <a:extLst>
                    <a:ext uri="{FF2B5EF4-FFF2-40B4-BE49-F238E27FC236}">
                      <a16:creationId xmlns:a16="http://schemas.microsoft.com/office/drawing/2014/main" id="{730F8C1C-9381-4057-BCD5-6772F8B4A436}"/>
                    </a:ext>
                  </a:extLst>
                </p:cNvPr>
                <p:cNvSpPr>
                  <a:spLocks/>
                </p:cNvSpPr>
                <p:nvPr/>
              </p:nvSpPr>
              <p:spPr bwMode="gray">
                <a:xfrm>
                  <a:off x="4023486" y="2104786"/>
                  <a:ext cx="84790" cy="154691"/>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7" name="Poland">
                  <a:extLst>
                    <a:ext uri="{FF2B5EF4-FFF2-40B4-BE49-F238E27FC236}">
                      <a16:creationId xmlns:a16="http://schemas.microsoft.com/office/drawing/2014/main" id="{B84A88ED-A1F1-4704-A209-0C8673EDA4FC}"/>
                    </a:ext>
                  </a:extLst>
                </p:cNvPr>
                <p:cNvSpPr>
                  <a:spLocks/>
                </p:cNvSpPr>
                <p:nvPr/>
              </p:nvSpPr>
              <p:spPr bwMode="gray">
                <a:xfrm>
                  <a:off x="4602134" y="1728470"/>
                  <a:ext cx="236517" cy="169566"/>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8" name="Norway">
                  <a:extLst>
                    <a:ext uri="{FF2B5EF4-FFF2-40B4-BE49-F238E27FC236}">
                      <a16:creationId xmlns:a16="http://schemas.microsoft.com/office/drawing/2014/main" id="{06C4827A-3D0D-441D-92C2-F0BC0EBD1378}"/>
                    </a:ext>
                  </a:extLst>
                </p:cNvPr>
                <p:cNvSpPr>
                  <a:spLocks noEditPoints="1"/>
                </p:cNvSpPr>
                <p:nvPr/>
              </p:nvSpPr>
              <p:spPr bwMode="gray">
                <a:xfrm>
                  <a:off x="4404293" y="1072518"/>
                  <a:ext cx="511709" cy="563732"/>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9" name="Netherlands">
                  <a:extLst>
                    <a:ext uri="{FF2B5EF4-FFF2-40B4-BE49-F238E27FC236}">
                      <a16:creationId xmlns:a16="http://schemas.microsoft.com/office/drawing/2014/main" id="{142F1240-D79F-4451-9281-499FB69CCD44}"/>
                    </a:ext>
                  </a:extLst>
                </p:cNvPr>
                <p:cNvSpPr>
                  <a:spLocks/>
                </p:cNvSpPr>
                <p:nvPr/>
              </p:nvSpPr>
              <p:spPr bwMode="gray">
                <a:xfrm>
                  <a:off x="4344791" y="1768630"/>
                  <a:ext cx="101152" cy="78834"/>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0" name="Montenegro">
                  <a:extLst>
                    <a:ext uri="{FF2B5EF4-FFF2-40B4-BE49-F238E27FC236}">
                      <a16:creationId xmlns:a16="http://schemas.microsoft.com/office/drawing/2014/main" id="{D08617A8-580E-4BB8-9A83-2659730D7224}"/>
                    </a:ext>
                  </a:extLst>
                </p:cNvPr>
                <p:cNvSpPr>
                  <a:spLocks/>
                </p:cNvSpPr>
                <p:nvPr/>
              </p:nvSpPr>
              <p:spPr bwMode="gray">
                <a:xfrm>
                  <a:off x="4712211" y="2058676"/>
                  <a:ext cx="41651" cy="50572"/>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1" name="Malta">
                  <a:extLst>
                    <a:ext uri="{FF2B5EF4-FFF2-40B4-BE49-F238E27FC236}">
                      <a16:creationId xmlns:a16="http://schemas.microsoft.com/office/drawing/2014/main" id="{FDEFFB8D-86A3-44CA-AB80-CF0737AF3257}"/>
                    </a:ext>
                  </a:extLst>
                </p:cNvPr>
                <p:cNvSpPr>
                  <a:spLocks/>
                </p:cNvSpPr>
                <p:nvPr/>
              </p:nvSpPr>
              <p:spPr bwMode="gray">
                <a:xfrm>
                  <a:off x="4611059" y="2281789"/>
                  <a:ext cx="11900" cy="10413"/>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2" name="Macedonia">
                  <a:extLst>
                    <a:ext uri="{FF2B5EF4-FFF2-40B4-BE49-F238E27FC236}">
                      <a16:creationId xmlns:a16="http://schemas.microsoft.com/office/drawing/2014/main" id="{F63CC732-DFCE-4FE9-A5A5-177A3EDE7284}"/>
                    </a:ext>
                  </a:extLst>
                </p:cNvPr>
                <p:cNvSpPr>
                  <a:spLocks/>
                </p:cNvSpPr>
                <p:nvPr/>
              </p:nvSpPr>
              <p:spPr bwMode="gray">
                <a:xfrm>
                  <a:off x="4764274" y="2094374"/>
                  <a:ext cx="62476" cy="47597"/>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3" name="Luxembourg">
                  <a:extLst>
                    <a:ext uri="{FF2B5EF4-FFF2-40B4-BE49-F238E27FC236}">
                      <a16:creationId xmlns:a16="http://schemas.microsoft.com/office/drawing/2014/main" id="{5AFB68FD-1FCE-4906-B058-D4CCF2CC3D44}"/>
                    </a:ext>
                  </a:extLst>
                </p:cNvPr>
                <p:cNvSpPr>
                  <a:spLocks/>
                </p:cNvSpPr>
                <p:nvPr/>
              </p:nvSpPr>
              <p:spPr bwMode="gray">
                <a:xfrm>
                  <a:off x="4405780" y="1865312"/>
                  <a:ext cx="19338" cy="16362"/>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4" name="Liechtenstein">
                  <a:extLst>
                    <a:ext uri="{FF2B5EF4-FFF2-40B4-BE49-F238E27FC236}">
                      <a16:creationId xmlns:a16="http://schemas.microsoft.com/office/drawing/2014/main" id="{BB395A8D-7EFC-44C9-B02B-6A07E1C8E96C}"/>
                    </a:ext>
                  </a:extLst>
                </p:cNvPr>
                <p:cNvSpPr>
                  <a:spLocks/>
                </p:cNvSpPr>
                <p:nvPr/>
              </p:nvSpPr>
              <p:spPr bwMode="gray">
                <a:xfrm>
                  <a:off x="4492056" y="1947120"/>
                  <a:ext cx="5950" cy="8925"/>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5" name="Italy">
                  <a:extLst>
                    <a:ext uri="{FF2B5EF4-FFF2-40B4-BE49-F238E27FC236}">
                      <a16:creationId xmlns:a16="http://schemas.microsoft.com/office/drawing/2014/main" id="{E726E9EA-CC6D-4AFA-A927-ACF69BB9B6F9}"/>
                    </a:ext>
                  </a:extLst>
                </p:cNvPr>
                <p:cNvSpPr>
                  <a:spLocks noEditPoints="1"/>
                </p:cNvSpPr>
                <p:nvPr/>
              </p:nvSpPr>
              <p:spPr bwMode="gray">
                <a:xfrm>
                  <a:off x="4423630" y="1953070"/>
                  <a:ext cx="294530" cy="313846"/>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6" name="Ireland">
                  <a:extLst>
                    <a:ext uri="{FF2B5EF4-FFF2-40B4-BE49-F238E27FC236}">
                      <a16:creationId xmlns:a16="http://schemas.microsoft.com/office/drawing/2014/main" id="{F6596B39-2A1E-47B3-B801-D2105B4E5291}"/>
                    </a:ext>
                  </a:extLst>
                </p:cNvPr>
                <p:cNvSpPr>
                  <a:spLocks/>
                </p:cNvSpPr>
                <p:nvPr/>
              </p:nvSpPr>
              <p:spPr bwMode="gray">
                <a:xfrm>
                  <a:off x="4039848" y="1715082"/>
                  <a:ext cx="105615" cy="111556"/>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7" name="Iceland">
                  <a:extLst>
                    <a:ext uri="{FF2B5EF4-FFF2-40B4-BE49-F238E27FC236}">
                      <a16:creationId xmlns:a16="http://schemas.microsoft.com/office/drawing/2014/main" id="{8737E38B-5EDF-4905-B679-02B247E04B57}"/>
                    </a:ext>
                  </a:extLst>
                </p:cNvPr>
                <p:cNvSpPr>
                  <a:spLocks/>
                </p:cNvSpPr>
                <p:nvPr/>
              </p:nvSpPr>
              <p:spPr bwMode="gray">
                <a:xfrm>
                  <a:off x="3812255" y="1404211"/>
                  <a:ext cx="215692" cy="83295"/>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8" name="Hungary">
                  <a:extLst>
                    <a:ext uri="{FF2B5EF4-FFF2-40B4-BE49-F238E27FC236}">
                      <a16:creationId xmlns:a16="http://schemas.microsoft.com/office/drawing/2014/main" id="{75C33CF6-1810-49CE-B716-4D3ABFC5B279}"/>
                    </a:ext>
                  </a:extLst>
                </p:cNvPr>
                <p:cNvSpPr>
                  <a:spLocks/>
                </p:cNvSpPr>
                <p:nvPr/>
              </p:nvSpPr>
              <p:spPr bwMode="gray">
                <a:xfrm>
                  <a:off x="4654198" y="1911422"/>
                  <a:ext cx="160653" cy="83295"/>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9" name="Greece">
                  <a:extLst>
                    <a:ext uri="{FF2B5EF4-FFF2-40B4-BE49-F238E27FC236}">
                      <a16:creationId xmlns:a16="http://schemas.microsoft.com/office/drawing/2014/main" id="{E4FB94C0-F313-4860-9EF5-5B7EC4D4766D}"/>
                    </a:ext>
                  </a:extLst>
                </p:cNvPr>
                <p:cNvSpPr>
                  <a:spLocks noEditPoints="1"/>
                </p:cNvSpPr>
                <p:nvPr/>
              </p:nvSpPr>
              <p:spPr bwMode="gray">
                <a:xfrm>
                  <a:off x="4762786" y="2113711"/>
                  <a:ext cx="200817" cy="208238"/>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0" name="Germany">
                  <a:extLst>
                    <a:ext uri="{FF2B5EF4-FFF2-40B4-BE49-F238E27FC236}">
                      <a16:creationId xmlns:a16="http://schemas.microsoft.com/office/drawing/2014/main" id="{F870062C-11AD-4457-8EBA-04A070E488B1}"/>
                    </a:ext>
                  </a:extLst>
                </p:cNvPr>
                <p:cNvSpPr>
                  <a:spLocks/>
                </p:cNvSpPr>
                <p:nvPr/>
              </p:nvSpPr>
              <p:spPr bwMode="gray">
                <a:xfrm>
                  <a:off x="4411730" y="1725495"/>
                  <a:ext cx="212717" cy="221626"/>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1" name="France">
                  <a:extLst>
                    <a:ext uri="{FF2B5EF4-FFF2-40B4-BE49-F238E27FC236}">
                      <a16:creationId xmlns:a16="http://schemas.microsoft.com/office/drawing/2014/main" id="{9E86E080-0A13-4251-BC3D-9CC61ECE3FEA}"/>
                    </a:ext>
                  </a:extLst>
                </p:cNvPr>
                <p:cNvSpPr>
                  <a:spLocks noEditPoints="1"/>
                </p:cNvSpPr>
                <p:nvPr/>
              </p:nvSpPr>
              <p:spPr bwMode="gray">
                <a:xfrm>
                  <a:off x="4154388" y="1832589"/>
                  <a:ext cx="343619" cy="295997"/>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2" name="Finland">
                  <a:extLst>
                    <a:ext uri="{FF2B5EF4-FFF2-40B4-BE49-F238E27FC236}">
                      <a16:creationId xmlns:a16="http://schemas.microsoft.com/office/drawing/2014/main" id="{0885C4D9-FF22-40C1-B4DB-1122D41831E8}"/>
                    </a:ext>
                  </a:extLst>
                </p:cNvPr>
                <p:cNvSpPr>
                  <a:spLocks/>
                </p:cNvSpPr>
                <p:nvPr/>
              </p:nvSpPr>
              <p:spPr bwMode="gray">
                <a:xfrm>
                  <a:off x="4718161" y="1313479"/>
                  <a:ext cx="236517" cy="270710"/>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3" name="Denmark">
                  <a:extLst>
                    <a:ext uri="{FF2B5EF4-FFF2-40B4-BE49-F238E27FC236}">
                      <a16:creationId xmlns:a16="http://schemas.microsoft.com/office/drawing/2014/main" id="{AAD38751-E9F5-4850-8928-06F8C4E01A78}"/>
                    </a:ext>
                  </a:extLst>
                </p:cNvPr>
                <p:cNvSpPr>
                  <a:spLocks noEditPoints="1"/>
                </p:cNvSpPr>
                <p:nvPr/>
              </p:nvSpPr>
              <p:spPr bwMode="gray">
                <a:xfrm>
                  <a:off x="4463794" y="1648149"/>
                  <a:ext cx="105615" cy="89245"/>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4" name="Czech Republic">
                  <a:extLst>
                    <a:ext uri="{FF2B5EF4-FFF2-40B4-BE49-F238E27FC236}">
                      <a16:creationId xmlns:a16="http://schemas.microsoft.com/office/drawing/2014/main" id="{4CC9FA3D-155F-4A79-98ED-3EE8B3EEC6C9}"/>
                    </a:ext>
                  </a:extLst>
                </p:cNvPr>
                <p:cNvSpPr>
                  <a:spLocks/>
                </p:cNvSpPr>
                <p:nvPr/>
              </p:nvSpPr>
              <p:spPr bwMode="gray">
                <a:xfrm>
                  <a:off x="4557508" y="1838538"/>
                  <a:ext cx="159166" cy="72884"/>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5" name="Croatia">
                  <a:extLst>
                    <a:ext uri="{FF2B5EF4-FFF2-40B4-BE49-F238E27FC236}">
                      <a16:creationId xmlns:a16="http://schemas.microsoft.com/office/drawing/2014/main" id="{54CE81C3-208A-44AA-B12E-91EC72B5661D}"/>
                    </a:ext>
                  </a:extLst>
                </p:cNvPr>
                <p:cNvSpPr>
                  <a:spLocks/>
                </p:cNvSpPr>
                <p:nvPr/>
              </p:nvSpPr>
              <p:spPr bwMode="gray">
                <a:xfrm>
                  <a:off x="4594696" y="1972406"/>
                  <a:ext cx="139828" cy="104120"/>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6" name="Bosnia and Herzegovina">
                  <a:extLst>
                    <a:ext uri="{FF2B5EF4-FFF2-40B4-BE49-F238E27FC236}">
                      <a16:creationId xmlns:a16="http://schemas.microsoft.com/office/drawing/2014/main" id="{F591C995-DA28-47FD-8B23-A0FD72CFDF92}"/>
                    </a:ext>
                  </a:extLst>
                </p:cNvPr>
                <p:cNvSpPr>
                  <a:spLocks/>
                </p:cNvSpPr>
                <p:nvPr/>
              </p:nvSpPr>
              <p:spPr bwMode="gray">
                <a:xfrm>
                  <a:off x="4640809" y="2008104"/>
                  <a:ext cx="101152" cy="89245"/>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7" name="Belgium">
                  <a:extLst>
                    <a:ext uri="{FF2B5EF4-FFF2-40B4-BE49-F238E27FC236}">
                      <a16:creationId xmlns:a16="http://schemas.microsoft.com/office/drawing/2014/main" id="{787DD022-4DC1-40F0-93AF-2E5454878077}"/>
                    </a:ext>
                  </a:extLst>
                </p:cNvPr>
                <p:cNvSpPr>
                  <a:spLocks/>
                </p:cNvSpPr>
                <p:nvPr/>
              </p:nvSpPr>
              <p:spPr bwMode="gray">
                <a:xfrm>
                  <a:off x="4340328" y="1826639"/>
                  <a:ext cx="83302" cy="58010"/>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8" name="Austria">
                  <a:extLst>
                    <a:ext uri="{FF2B5EF4-FFF2-40B4-BE49-F238E27FC236}">
                      <a16:creationId xmlns:a16="http://schemas.microsoft.com/office/drawing/2014/main" id="{CB6F8902-5E0A-4A58-8F0D-EA988DB0368A}"/>
                    </a:ext>
                  </a:extLst>
                </p:cNvPr>
                <p:cNvSpPr>
                  <a:spLocks/>
                </p:cNvSpPr>
                <p:nvPr/>
              </p:nvSpPr>
              <p:spPr bwMode="gray">
                <a:xfrm>
                  <a:off x="4498006" y="1898036"/>
                  <a:ext cx="172554" cy="75859"/>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9" name="Andorra">
                  <a:extLst>
                    <a:ext uri="{FF2B5EF4-FFF2-40B4-BE49-F238E27FC236}">
                      <a16:creationId xmlns:a16="http://schemas.microsoft.com/office/drawing/2014/main" id="{3095BBFB-6169-411B-9BA4-41FBB531A32D}"/>
                    </a:ext>
                  </a:extLst>
                </p:cNvPr>
                <p:cNvSpPr>
                  <a:spLocks/>
                </p:cNvSpPr>
                <p:nvPr/>
              </p:nvSpPr>
              <p:spPr bwMode="gray">
                <a:xfrm>
                  <a:off x="4297190" y="2088424"/>
                  <a:ext cx="11900" cy="5950"/>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0" name="Albania">
                  <a:extLst>
                    <a:ext uri="{FF2B5EF4-FFF2-40B4-BE49-F238E27FC236}">
                      <a16:creationId xmlns:a16="http://schemas.microsoft.com/office/drawing/2014/main" id="{AE6602D8-F83A-4C10-87FE-BE11F84804EB}"/>
                    </a:ext>
                  </a:extLst>
                </p:cNvPr>
                <p:cNvSpPr>
                  <a:spLocks/>
                </p:cNvSpPr>
                <p:nvPr/>
              </p:nvSpPr>
              <p:spPr bwMode="gray">
                <a:xfrm>
                  <a:off x="4727086" y="2088424"/>
                  <a:ext cx="53551" cy="92220"/>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421" name="Group 209">
                  <a:extLst>
                    <a:ext uri="{FF2B5EF4-FFF2-40B4-BE49-F238E27FC236}">
                      <a16:creationId xmlns:a16="http://schemas.microsoft.com/office/drawing/2014/main" id="{99F1D9DB-8E95-4F05-B482-497C6BDF7323}"/>
                    </a:ext>
                  </a:extLst>
                </p:cNvPr>
                <p:cNvGrpSpPr>
                  <a:grpSpLocks/>
                </p:cNvGrpSpPr>
                <p:nvPr/>
              </p:nvGrpSpPr>
              <p:grpSpPr bwMode="auto">
                <a:xfrm>
                  <a:off x="4719648" y="1982818"/>
                  <a:ext cx="104127" cy="127918"/>
                  <a:chOff x="2184" y="1242"/>
                  <a:chExt cx="257" cy="316"/>
                </a:xfrm>
                <a:solidFill>
                  <a:schemeClr val="bg1">
                    <a:lumMod val="85000"/>
                  </a:schemeClr>
                </a:solidFill>
              </p:grpSpPr>
              <p:sp>
                <p:nvSpPr>
                  <p:cNvPr id="462" name="Freeform 210">
                    <a:extLst>
                      <a:ext uri="{FF2B5EF4-FFF2-40B4-BE49-F238E27FC236}">
                        <a16:creationId xmlns:a16="http://schemas.microsoft.com/office/drawing/2014/main" id="{DF0D4340-149F-44BB-B262-DF917B6CE063}"/>
                      </a:ext>
                    </a:extLst>
                  </p:cNvPr>
                  <p:cNvSpPr>
                    <a:spLocks/>
                  </p:cNvSpPr>
                  <p:nvPr/>
                </p:nvSpPr>
                <p:spPr bwMode="gray">
                  <a:xfrm>
                    <a:off x="2184" y="1242"/>
                    <a:ext cx="257" cy="282"/>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grpFill/>
                  <a:ln w="3175" cap="flat" cmpd="sng">
                    <a:solidFill>
                      <a:schemeClr val="bg1">
                        <a:lumMod val="85000"/>
                      </a:schemeClr>
                    </a:solidFill>
                    <a:prstDash val="solid"/>
                    <a:round/>
                    <a:headEnd type="none" w="med" len="med"/>
                    <a:tailEnd type="none" w="med" len="med"/>
                  </a:ln>
                  <a:effectLst/>
                </p:spPr>
                <p:txBody>
                  <a:bodyPr/>
                  <a:lstStyle/>
                  <a:p>
                    <a:endParaRPr lang="en-US" dirty="0">
                      <a:latin typeface="Calibri" pitchFamily="34" charset="0"/>
                      <a:cs typeface="Calibri" pitchFamily="34" charset="0"/>
                    </a:endParaRPr>
                  </a:p>
                </p:txBody>
              </p:sp>
              <p:sp>
                <p:nvSpPr>
                  <p:cNvPr id="463" name="Freeform 211">
                    <a:extLst>
                      <a:ext uri="{FF2B5EF4-FFF2-40B4-BE49-F238E27FC236}">
                        <a16:creationId xmlns:a16="http://schemas.microsoft.com/office/drawing/2014/main" id="{8B898235-4A5C-4611-B17E-90E481CE5134}"/>
                      </a:ext>
                    </a:extLst>
                  </p:cNvPr>
                  <p:cNvSpPr>
                    <a:spLocks noEditPoints="1"/>
                  </p:cNvSpPr>
                  <p:nvPr/>
                </p:nvSpPr>
                <p:spPr bwMode="gray">
                  <a:xfrm>
                    <a:off x="2268" y="1436"/>
                    <a:ext cx="121" cy="122"/>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3175" cap="flat" cmpd="sng">
                    <a:solidFill>
                      <a:schemeClr val="bg1">
                        <a:lumMod val="85000"/>
                      </a:schemeClr>
                    </a:solidFill>
                    <a:prstDash val="solid"/>
                    <a:round/>
                    <a:headEnd type="none" w="med" len="med"/>
                    <a:tailEnd type="none" w="med" len="med"/>
                  </a:ln>
                  <a:effectLst/>
                </p:spPr>
                <p:txBody>
                  <a:bodyPr/>
                  <a:lstStyle/>
                  <a:p>
                    <a:endParaRPr lang="en-US" dirty="0">
                      <a:latin typeface="Calibri" pitchFamily="34" charset="0"/>
                      <a:cs typeface="Calibri" pitchFamily="34" charset="0"/>
                    </a:endParaRPr>
                  </a:p>
                </p:txBody>
              </p:sp>
            </p:grpSp>
            <p:sp>
              <p:nvSpPr>
                <p:cNvPr id="422" name="Zimbabwe">
                  <a:extLst>
                    <a:ext uri="{FF2B5EF4-FFF2-40B4-BE49-F238E27FC236}">
                      <a16:creationId xmlns:a16="http://schemas.microsoft.com/office/drawing/2014/main" id="{5411517C-5CBD-4D48-B1F3-953409FA6C28}"/>
                    </a:ext>
                  </a:extLst>
                </p:cNvPr>
                <p:cNvSpPr>
                  <a:spLocks/>
                </p:cNvSpPr>
                <p:nvPr/>
              </p:nvSpPr>
              <p:spPr bwMode="gray">
                <a:xfrm>
                  <a:off x="4911539" y="3856965"/>
                  <a:ext cx="206766" cy="208238"/>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3" name="Zambia">
                  <a:extLst>
                    <a:ext uri="{FF2B5EF4-FFF2-40B4-BE49-F238E27FC236}">
                      <a16:creationId xmlns:a16="http://schemas.microsoft.com/office/drawing/2014/main" id="{C42AB00D-4555-47ED-BC00-795BA5EC8AF0}"/>
                    </a:ext>
                  </a:extLst>
                </p:cNvPr>
                <p:cNvSpPr>
                  <a:spLocks/>
                </p:cNvSpPr>
                <p:nvPr/>
              </p:nvSpPr>
              <p:spPr bwMode="gray">
                <a:xfrm>
                  <a:off x="4826750" y="3629389"/>
                  <a:ext cx="313868" cy="301946"/>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4" name="Yemen">
                  <a:extLst>
                    <a:ext uri="{FF2B5EF4-FFF2-40B4-BE49-F238E27FC236}">
                      <a16:creationId xmlns:a16="http://schemas.microsoft.com/office/drawing/2014/main" id="{48316C05-3217-4723-85FA-C3CDB80DF17C}"/>
                    </a:ext>
                  </a:extLst>
                </p:cNvPr>
                <p:cNvSpPr>
                  <a:spLocks/>
                </p:cNvSpPr>
                <p:nvPr/>
              </p:nvSpPr>
              <p:spPr bwMode="gray">
                <a:xfrm>
                  <a:off x="5374160" y="2803872"/>
                  <a:ext cx="275193" cy="188902"/>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5" name="Uganda">
                  <a:extLst>
                    <a:ext uri="{FF2B5EF4-FFF2-40B4-BE49-F238E27FC236}">
                      <a16:creationId xmlns:a16="http://schemas.microsoft.com/office/drawing/2014/main" id="{F4C0648D-4F34-4C5C-806E-80FB6A3386B9}"/>
                    </a:ext>
                  </a:extLst>
                </p:cNvPr>
                <p:cNvSpPr>
                  <a:spLocks noEditPoints="1"/>
                </p:cNvSpPr>
                <p:nvPr/>
              </p:nvSpPr>
              <p:spPr bwMode="gray">
                <a:xfrm>
                  <a:off x="5035004" y="3256047"/>
                  <a:ext cx="147266" cy="174028"/>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6" name="Tunisia">
                  <a:extLst>
                    <a:ext uri="{FF2B5EF4-FFF2-40B4-BE49-F238E27FC236}">
                      <a16:creationId xmlns:a16="http://schemas.microsoft.com/office/drawing/2014/main" id="{02C79127-625B-4A23-B3BA-5DDC95F50C8E}"/>
                    </a:ext>
                  </a:extLst>
                </p:cNvPr>
                <p:cNvSpPr>
                  <a:spLocks/>
                </p:cNvSpPr>
                <p:nvPr/>
              </p:nvSpPr>
              <p:spPr bwMode="gray">
                <a:xfrm>
                  <a:off x="4444455" y="2249065"/>
                  <a:ext cx="104127" cy="214188"/>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7" name="Tanzania">
                  <a:extLst>
                    <a:ext uri="{FF2B5EF4-FFF2-40B4-BE49-F238E27FC236}">
                      <a16:creationId xmlns:a16="http://schemas.microsoft.com/office/drawing/2014/main" id="{44D7EFEB-A672-4855-8932-1904090EF26A}"/>
                    </a:ext>
                  </a:extLst>
                </p:cNvPr>
                <p:cNvSpPr>
                  <a:spLocks noEditPoints="1"/>
                </p:cNvSpPr>
                <p:nvPr/>
              </p:nvSpPr>
              <p:spPr bwMode="gray">
                <a:xfrm>
                  <a:off x="5033516" y="3413713"/>
                  <a:ext cx="288580" cy="327231"/>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8" name="Syria">
                  <a:extLst>
                    <a:ext uri="{FF2B5EF4-FFF2-40B4-BE49-F238E27FC236}">
                      <a16:creationId xmlns:a16="http://schemas.microsoft.com/office/drawing/2014/main" id="{E0418A31-5982-4716-855B-5AED514D07B3}"/>
                    </a:ext>
                  </a:extLst>
                </p:cNvPr>
                <p:cNvSpPr>
                  <a:spLocks/>
                </p:cNvSpPr>
                <p:nvPr/>
              </p:nvSpPr>
              <p:spPr bwMode="gray">
                <a:xfrm>
                  <a:off x="5152519" y="2246090"/>
                  <a:ext cx="169578" cy="156179"/>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9" name="Swaziland">
                  <a:extLst>
                    <a:ext uri="{FF2B5EF4-FFF2-40B4-BE49-F238E27FC236}">
                      <a16:creationId xmlns:a16="http://schemas.microsoft.com/office/drawing/2014/main" id="{21A95B2E-DC37-43BF-A414-EF4BB4AAAB03}"/>
                    </a:ext>
                  </a:extLst>
                </p:cNvPr>
                <p:cNvSpPr>
                  <a:spLocks/>
                </p:cNvSpPr>
                <p:nvPr/>
              </p:nvSpPr>
              <p:spPr bwMode="gray">
                <a:xfrm>
                  <a:off x="5051367" y="4163373"/>
                  <a:ext cx="37189" cy="50572"/>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0" name="Somalia">
                  <a:extLst>
                    <a:ext uri="{FF2B5EF4-FFF2-40B4-BE49-F238E27FC236}">
                      <a16:creationId xmlns:a16="http://schemas.microsoft.com/office/drawing/2014/main" id="{47DC9A16-397C-4004-9A7E-82D1BF2ACD03}"/>
                    </a:ext>
                  </a:extLst>
                </p:cNvPr>
                <p:cNvSpPr>
                  <a:spLocks/>
                </p:cNvSpPr>
                <p:nvPr/>
              </p:nvSpPr>
              <p:spPr bwMode="gray">
                <a:xfrm>
                  <a:off x="5339948" y="3016573"/>
                  <a:ext cx="269243" cy="417965"/>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1" name="Rwanda">
                  <a:extLst>
                    <a:ext uri="{FF2B5EF4-FFF2-40B4-BE49-F238E27FC236}">
                      <a16:creationId xmlns:a16="http://schemas.microsoft.com/office/drawing/2014/main" id="{4078B223-2B2D-4498-8A31-E7C677E63189}"/>
                    </a:ext>
                  </a:extLst>
                </p:cNvPr>
                <p:cNvSpPr>
                  <a:spLocks/>
                </p:cNvSpPr>
                <p:nvPr/>
              </p:nvSpPr>
              <p:spPr bwMode="gray">
                <a:xfrm>
                  <a:off x="5012691" y="3413713"/>
                  <a:ext cx="56526" cy="55035"/>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2" name="Qatar">
                  <a:extLst>
                    <a:ext uri="{FF2B5EF4-FFF2-40B4-BE49-F238E27FC236}">
                      <a16:creationId xmlns:a16="http://schemas.microsoft.com/office/drawing/2014/main" id="{06FBDFB0-C780-4784-968A-C64413F1FCF1}"/>
                    </a:ext>
                  </a:extLst>
                </p:cNvPr>
                <p:cNvSpPr>
                  <a:spLocks/>
                </p:cNvSpPr>
                <p:nvPr/>
              </p:nvSpPr>
              <p:spPr bwMode="gray">
                <a:xfrm>
                  <a:off x="5577952" y="2585221"/>
                  <a:ext cx="23800" cy="53547"/>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3" name="Oman">
                  <a:extLst>
                    <a:ext uri="{FF2B5EF4-FFF2-40B4-BE49-F238E27FC236}">
                      <a16:creationId xmlns:a16="http://schemas.microsoft.com/office/drawing/2014/main" id="{58F909D5-34A5-4BE7-9D2E-D70D7292B3F0}"/>
                    </a:ext>
                  </a:extLst>
                </p:cNvPr>
                <p:cNvSpPr>
                  <a:spLocks/>
                </p:cNvSpPr>
                <p:nvPr/>
              </p:nvSpPr>
              <p:spPr bwMode="gray">
                <a:xfrm>
                  <a:off x="5618115" y="2620919"/>
                  <a:ext cx="203791" cy="254349"/>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4" name="Nigeria">
                  <a:extLst>
                    <a:ext uri="{FF2B5EF4-FFF2-40B4-BE49-F238E27FC236}">
                      <a16:creationId xmlns:a16="http://schemas.microsoft.com/office/drawing/2014/main" id="{9508E666-696E-45CE-9BE0-FDFBE1841D13}"/>
                    </a:ext>
                  </a:extLst>
                </p:cNvPr>
                <p:cNvSpPr>
                  <a:spLocks/>
                </p:cNvSpPr>
                <p:nvPr/>
              </p:nvSpPr>
              <p:spPr bwMode="gray">
                <a:xfrm>
                  <a:off x="4313553" y="2960050"/>
                  <a:ext cx="315355" cy="291534"/>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5" name="Niger">
                  <a:extLst>
                    <a:ext uri="{FF2B5EF4-FFF2-40B4-BE49-F238E27FC236}">
                      <a16:creationId xmlns:a16="http://schemas.microsoft.com/office/drawing/2014/main" id="{235A30D0-30FC-40AF-AC04-73618EBDC927}"/>
                    </a:ext>
                  </a:extLst>
                </p:cNvPr>
                <p:cNvSpPr>
                  <a:spLocks/>
                </p:cNvSpPr>
                <p:nvPr/>
              </p:nvSpPr>
              <p:spPr bwMode="gray">
                <a:xfrm>
                  <a:off x="4246615" y="2668517"/>
                  <a:ext cx="419483" cy="355494"/>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6" name="Mozambique">
                  <a:extLst>
                    <a:ext uri="{FF2B5EF4-FFF2-40B4-BE49-F238E27FC236}">
                      <a16:creationId xmlns:a16="http://schemas.microsoft.com/office/drawing/2014/main" id="{2F1990EE-353C-49F0-8C46-C2B758A22458}"/>
                    </a:ext>
                  </a:extLst>
                </p:cNvPr>
                <p:cNvSpPr>
                  <a:spLocks/>
                </p:cNvSpPr>
                <p:nvPr/>
              </p:nvSpPr>
              <p:spPr bwMode="gray">
                <a:xfrm>
                  <a:off x="5042442" y="3700786"/>
                  <a:ext cx="287093" cy="504235"/>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7" name="Malawi">
                  <a:extLst>
                    <a:ext uri="{FF2B5EF4-FFF2-40B4-BE49-F238E27FC236}">
                      <a16:creationId xmlns:a16="http://schemas.microsoft.com/office/drawing/2014/main" id="{8678F08A-EF10-47C5-B873-DBEE09243EFB}"/>
                    </a:ext>
                  </a:extLst>
                </p:cNvPr>
                <p:cNvSpPr>
                  <a:spLocks/>
                </p:cNvSpPr>
                <p:nvPr/>
              </p:nvSpPr>
              <p:spPr bwMode="gray">
                <a:xfrm>
                  <a:off x="5110868" y="3668062"/>
                  <a:ext cx="89252" cy="236499"/>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8" name="Madagascar">
                  <a:extLst>
                    <a:ext uri="{FF2B5EF4-FFF2-40B4-BE49-F238E27FC236}">
                      <a16:creationId xmlns:a16="http://schemas.microsoft.com/office/drawing/2014/main" id="{7E9B25B2-00F1-487B-A320-CC232A18A1F2}"/>
                    </a:ext>
                  </a:extLst>
                </p:cNvPr>
                <p:cNvSpPr>
                  <a:spLocks/>
                </p:cNvSpPr>
                <p:nvPr/>
              </p:nvSpPr>
              <p:spPr bwMode="gray">
                <a:xfrm>
                  <a:off x="5369698" y="3755820"/>
                  <a:ext cx="223129" cy="410527"/>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9" name="Libya">
                  <a:extLst>
                    <a:ext uri="{FF2B5EF4-FFF2-40B4-BE49-F238E27FC236}">
                      <a16:creationId xmlns:a16="http://schemas.microsoft.com/office/drawing/2014/main" id="{B894068E-1DED-4D3D-971E-BA7077A31F0D}"/>
                    </a:ext>
                  </a:extLst>
                </p:cNvPr>
                <p:cNvSpPr>
                  <a:spLocks/>
                </p:cNvSpPr>
                <p:nvPr/>
              </p:nvSpPr>
              <p:spPr bwMode="gray">
                <a:xfrm>
                  <a:off x="4489081" y="2372521"/>
                  <a:ext cx="415021" cy="417965"/>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0" name="Lesotho">
                  <a:extLst>
                    <a:ext uri="{FF2B5EF4-FFF2-40B4-BE49-F238E27FC236}">
                      <a16:creationId xmlns:a16="http://schemas.microsoft.com/office/drawing/2014/main" id="{4858AC2C-E5C2-47E9-A336-60CC1DD23B3A}"/>
                    </a:ext>
                  </a:extLst>
                </p:cNvPr>
                <p:cNvSpPr>
                  <a:spLocks/>
                </p:cNvSpPr>
                <p:nvPr/>
              </p:nvSpPr>
              <p:spPr bwMode="gray">
                <a:xfrm>
                  <a:off x="4945753" y="4252617"/>
                  <a:ext cx="63964" cy="60985"/>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1" name="Lebanon">
                  <a:extLst>
                    <a:ext uri="{FF2B5EF4-FFF2-40B4-BE49-F238E27FC236}">
                      <a16:creationId xmlns:a16="http://schemas.microsoft.com/office/drawing/2014/main" id="{C9F8B6C4-77A6-4635-A45A-D36558746840}"/>
                    </a:ext>
                  </a:extLst>
                </p:cNvPr>
                <p:cNvSpPr>
                  <a:spLocks/>
                </p:cNvSpPr>
                <p:nvPr/>
              </p:nvSpPr>
              <p:spPr bwMode="gray">
                <a:xfrm>
                  <a:off x="5140619" y="2329386"/>
                  <a:ext cx="41651" cy="59497"/>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2" name="Kenya">
                  <a:extLst>
                    <a:ext uri="{FF2B5EF4-FFF2-40B4-BE49-F238E27FC236}">
                      <a16:creationId xmlns:a16="http://schemas.microsoft.com/office/drawing/2014/main" id="{EEDFE163-E354-47F9-A99B-B92C3399B431}"/>
                    </a:ext>
                  </a:extLst>
                </p:cNvPr>
                <p:cNvSpPr>
                  <a:spLocks/>
                </p:cNvSpPr>
                <p:nvPr/>
              </p:nvSpPr>
              <p:spPr bwMode="gray">
                <a:xfrm>
                  <a:off x="5152519" y="3239685"/>
                  <a:ext cx="212716" cy="287072"/>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3" name="Israel">
                  <a:extLst>
                    <a:ext uri="{FF2B5EF4-FFF2-40B4-BE49-F238E27FC236}">
                      <a16:creationId xmlns:a16="http://schemas.microsoft.com/office/drawing/2014/main" id="{D28EC1BC-150C-4098-A253-45294B8AFF6F}"/>
                    </a:ext>
                  </a:extLst>
                </p:cNvPr>
                <p:cNvSpPr>
                  <a:spLocks/>
                </p:cNvSpPr>
                <p:nvPr/>
              </p:nvSpPr>
              <p:spPr bwMode="gray">
                <a:xfrm>
                  <a:off x="5130206" y="2366572"/>
                  <a:ext cx="38676" cy="120481"/>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4" name="Iraq">
                  <a:extLst>
                    <a:ext uri="{FF2B5EF4-FFF2-40B4-BE49-F238E27FC236}">
                      <a16:creationId xmlns:a16="http://schemas.microsoft.com/office/drawing/2014/main" id="{7313E405-8A07-4265-9A26-0838148DF018}"/>
                    </a:ext>
                  </a:extLst>
                </p:cNvPr>
                <p:cNvSpPr>
                  <a:spLocks/>
                </p:cNvSpPr>
                <p:nvPr/>
              </p:nvSpPr>
              <p:spPr bwMode="gray">
                <a:xfrm>
                  <a:off x="5241771" y="2249065"/>
                  <a:ext cx="257342" cy="248399"/>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5" name="Gabon">
                  <a:extLst>
                    <a:ext uri="{FF2B5EF4-FFF2-40B4-BE49-F238E27FC236}">
                      <a16:creationId xmlns:a16="http://schemas.microsoft.com/office/drawing/2014/main" id="{25AFAD61-97A4-4D96-B0A3-CC9F4886FA23}"/>
                    </a:ext>
                  </a:extLst>
                </p:cNvPr>
                <p:cNvSpPr>
                  <a:spLocks/>
                </p:cNvSpPr>
                <p:nvPr/>
              </p:nvSpPr>
              <p:spPr bwMode="gray">
                <a:xfrm>
                  <a:off x="4471231" y="3308107"/>
                  <a:ext cx="157678" cy="193364"/>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6" name="Ethiopia">
                  <a:extLst>
                    <a:ext uri="{FF2B5EF4-FFF2-40B4-BE49-F238E27FC236}">
                      <a16:creationId xmlns:a16="http://schemas.microsoft.com/office/drawing/2014/main" id="{20F11F68-231E-44BA-8E94-2752AA4D00DD}"/>
                    </a:ext>
                  </a:extLst>
                </p:cNvPr>
                <p:cNvSpPr>
                  <a:spLocks/>
                </p:cNvSpPr>
                <p:nvPr/>
              </p:nvSpPr>
              <p:spPr bwMode="gray">
                <a:xfrm>
                  <a:off x="5124256" y="2930302"/>
                  <a:ext cx="398657" cy="348056"/>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7" name="Eritrea">
                  <a:extLst>
                    <a:ext uri="{FF2B5EF4-FFF2-40B4-BE49-F238E27FC236}">
                      <a16:creationId xmlns:a16="http://schemas.microsoft.com/office/drawing/2014/main" id="{CDE9FA33-02D5-43B7-8328-6163F01CA368}"/>
                    </a:ext>
                  </a:extLst>
                </p:cNvPr>
                <p:cNvSpPr>
                  <a:spLocks/>
                </p:cNvSpPr>
                <p:nvPr/>
              </p:nvSpPr>
              <p:spPr bwMode="gray">
                <a:xfrm>
                  <a:off x="5209045" y="2833621"/>
                  <a:ext cx="181479" cy="172540"/>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8" name="Equatorial Guinea">
                  <a:extLst>
                    <a:ext uri="{FF2B5EF4-FFF2-40B4-BE49-F238E27FC236}">
                      <a16:creationId xmlns:a16="http://schemas.microsoft.com/office/drawing/2014/main" id="{07575A0C-6BD5-461A-9AEA-0298E230390C}"/>
                    </a:ext>
                  </a:extLst>
                </p:cNvPr>
                <p:cNvSpPr>
                  <a:spLocks/>
                </p:cNvSpPr>
                <p:nvPr/>
              </p:nvSpPr>
              <p:spPr bwMode="gray">
                <a:xfrm>
                  <a:off x="4489081" y="3311082"/>
                  <a:ext cx="55039" cy="41648"/>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9" name="Djibouti">
                  <a:extLst>
                    <a:ext uri="{FF2B5EF4-FFF2-40B4-BE49-F238E27FC236}">
                      <a16:creationId xmlns:a16="http://schemas.microsoft.com/office/drawing/2014/main" id="{723C3FEF-7C6A-44CF-B659-47F57EF7558E}"/>
                    </a:ext>
                  </a:extLst>
                </p:cNvPr>
                <p:cNvSpPr>
                  <a:spLocks/>
                </p:cNvSpPr>
                <p:nvPr/>
              </p:nvSpPr>
              <p:spPr bwMode="gray">
                <a:xfrm>
                  <a:off x="5353335" y="2997236"/>
                  <a:ext cx="44626" cy="52060"/>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0" name="Cyprus">
                  <a:extLst>
                    <a:ext uri="{FF2B5EF4-FFF2-40B4-BE49-F238E27FC236}">
                      <a16:creationId xmlns:a16="http://schemas.microsoft.com/office/drawing/2014/main" id="{FE1EC5F4-1B97-4641-BD20-9902A39D82A7}"/>
                    </a:ext>
                  </a:extLst>
                </p:cNvPr>
                <p:cNvSpPr>
                  <a:spLocks/>
                </p:cNvSpPr>
                <p:nvPr/>
              </p:nvSpPr>
              <p:spPr bwMode="gray">
                <a:xfrm>
                  <a:off x="5069217" y="2299638"/>
                  <a:ext cx="55039" cy="32723"/>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1" name="Congo">
                  <a:extLst>
                    <a:ext uri="{FF2B5EF4-FFF2-40B4-BE49-F238E27FC236}">
                      <a16:creationId xmlns:a16="http://schemas.microsoft.com/office/drawing/2014/main" id="{6056E03D-62D1-4155-AE55-541B0927FDFE}"/>
                    </a:ext>
                  </a:extLst>
                </p:cNvPr>
                <p:cNvSpPr>
                  <a:spLocks/>
                </p:cNvSpPr>
                <p:nvPr/>
              </p:nvSpPr>
              <p:spPr bwMode="gray">
                <a:xfrm>
                  <a:off x="4569408" y="3218862"/>
                  <a:ext cx="508734" cy="572656"/>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2" name="Chad">
                  <a:extLst>
                    <a:ext uri="{FF2B5EF4-FFF2-40B4-BE49-F238E27FC236}">
                      <a16:creationId xmlns:a16="http://schemas.microsoft.com/office/drawing/2014/main" id="{353F124F-28B7-491D-B544-7C0FD12B4563}"/>
                    </a:ext>
                  </a:extLst>
                </p:cNvPr>
                <p:cNvSpPr>
                  <a:spLocks/>
                </p:cNvSpPr>
                <p:nvPr/>
              </p:nvSpPr>
              <p:spPr bwMode="gray">
                <a:xfrm>
                  <a:off x="4597672" y="2668517"/>
                  <a:ext cx="281143" cy="486386"/>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3" name="Central African Republic">
                  <a:extLst>
                    <a:ext uri="{FF2B5EF4-FFF2-40B4-BE49-F238E27FC236}">
                      <a16:creationId xmlns:a16="http://schemas.microsoft.com/office/drawing/2014/main" id="{B89B0D7A-0B54-4CBB-9D46-632D96CF5777}"/>
                    </a:ext>
                  </a:extLst>
                </p:cNvPr>
                <p:cNvSpPr>
                  <a:spLocks/>
                </p:cNvSpPr>
                <p:nvPr/>
              </p:nvSpPr>
              <p:spPr bwMode="gray">
                <a:xfrm>
                  <a:off x="4624447" y="3049297"/>
                  <a:ext cx="345106" cy="263274"/>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4" name="Cameroon">
                  <a:extLst>
                    <a:ext uri="{FF2B5EF4-FFF2-40B4-BE49-F238E27FC236}">
                      <a16:creationId xmlns:a16="http://schemas.microsoft.com/office/drawing/2014/main" id="{5734F6AC-8C50-4F41-ACDF-AB2655A8E775}"/>
                    </a:ext>
                  </a:extLst>
                </p:cNvPr>
                <p:cNvSpPr>
                  <a:spLocks/>
                </p:cNvSpPr>
                <p:nvPr/>
              </p:nvSpPr>
              <p:spPr bwMode="gray">
                <a:xfrm>
                  <a:off x="4468256" y="2982363"/>
                  <a:ext cx="206766" cy="349544"/>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5" name="Burundi">
                  <a:extLst>
                    <a:ext uri="{FF2B5EF4-FFF2-40B4-BE49-F238E27FC236}">
                      <a16:creationId xmlns:a16="http://schemas.microsoft.com/office/drawing/2014/main" id="{78B8C512-00D0-4592-ADFA-D0AE398B1A45}"/>
                    </a:ext>
                  </a:extLst>
                </p:cNvPr>
                <p:cNvSpPr>
                  <a:spLocks/>
                </p:cNvSpPr>
                <p:nvPr/>
              </p:nvSpPr>
              <p:spPr bwMode="gray">
                <a:xfrm>
                  <a:off x="5017154" y="3456848"/>
                  <a:ext cx="50576" cy="62472"/>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6" name="Burkina Faso">
                  <a:extLst>
                    <a:ext uri="{FF2B5EF4-FFF2-40B4-BE49-F238E27FC236}">
                      <a16:creationId xmlns:a16="http://schemas.microsoft.com/office/drawing/2014/main" id="{28FF04EA-934E-4BFA-A4CB-76AACE9EC1D1}"/>
                    </a:ext>
                  </a:extLst>
                </p:cNvPr>
                <p:cNvSpPr>
                  <a:spLocks/>
                </p:cNvSpPr>
                <p:nvPr/>
              </p:nvSpPr>
              <p:spPr bwMode="gray">
                <a:xfrm>
                  <a:off x="4090424" y="2925841"/>
                  <a:ext cx="215691" cy="169566"/>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7" name="Botswana">
                  <a:extLst>
                    <a:ext uri="{FF2B5EF4-FFF2-40B4-BE49-F238E27FC236}">
                      <a16:creationId xmlns:a16="http://schemas.microsoft.com/office/drawing/2014/main" id="{44E4FBBB-5C92-47B7-9A75-25F641BCC8C3}"/>
                    </a:ext>
                  </a:extLst>
                </p:cNvPr>
                <p:cNvSpPr>
                  <a:spLocks/>
                </p:cNvSpPr>
                <p:nvPr/>
              </p:nvSpPr>
              <p:spPr bwMode="gray">
                <a:xfrm>
                  <a:off x="4767249" y="3922411"/>
                  <a:ext cx="245442" cy="275172"/>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8" name="Benin">
                  <a:extLst>
                    <a:ext uri="{FF2B5EF4-FFF2-40B4-BE49-F238E27FC236}">
                      <a16:creationId xmlns:a16="http://schemas.microsoft.com/office/drawing/2014/main" id="{7DFFE08F-D760-40C5-95F9-F2798E5BFF12}"/>
                    </a:ext>
                  </a:extLst>
                </p:cNvPr>
                <p:cNvSpPr>
                  <a:spLocks/>
                </p:cNvSpPr>
                <p:nvPr/>
              </p:nvSpPr>
              <p:spPr bwMode="gray">
                <a:xfrm>
                  <a:off x="4260003" y="3006161"/>
                  <a:ext cx="84790" cy="187415"/>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9" name="Angola">
                  <a:extLst>
                    <a:ext uri="{FF2B5EF4-FFF2-40B4-BE49-F238E27FC236}">
                      <a16:creationId xmlns:a16="http://schemas.microsoft.com/office/drawing/2014/main" id="{7C27B9BB-27B7-4261-8297-D735FE5A03B8}"/>
                    </a:ext>
                  </a:extLst>
                </p:cNvPr>
                <p:cNvSpPr>
                  <a:spLocks noEditPoints="1"/>
                </p:cNvSpPr>
                <p:nvPr/>
              </p:nvSpPr>
              <p:spPr bwMode="gray">
                <a:xfrm>
                  <a:off x="4551558" y="3511883"/>
                  <a:ext cx="334694" cy="417965"/>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0" name="Freeform 8">
                  <a:extLst>
                    <a:ext uri="{FF2B5EF4-FFF2-40B4-BE49-F238E27FC236}">
                      <a16:creationId xmlns:a16="http://schemas.microsoft.com/office/drawing/2014/main" id="{97994C41-FB43-4F31-8C5A-F5C662DDB008}"/>
                    </a:ext>
                  </a:extLst>
                </p:cNvPr>
                <p:cNvSpPr>
                  <a:spLocks/>
                </p:cNvSpPr>
                <p:nvPr/>
              </p:nvSpPr>
              <p:spPr bwMode="auto">
                <a:xfrm>
                  <a:off x="4817745" y="2674556"/>
                  <a:ext cx="454518" cy="445874"/>
                </a:xfrm>
                <a:custGeom>
                  <a:avLst/>
                  <a:gdLst/>
                  <a:ahLst/>
                  <a:cxnLst>
                    <a:cxn ang="0">
                      <a:pos x="442" y="199"/>
                    </a:cxn>
                    <a:cxn ang="0">
                      <a:pos x="446" y="187"/>
                    </a:cxn>
                    <a:cxn ang="0">
                      <a:pos x="475" y="170"/>
                    </a:cxn>
                    <a:cxn ang="0">
                      <a:pos x="458" y="149"/>
                    </a:cxn>
                    <a:cxn ang="0">
                      <a:pos x="439" y="137"/>
                    </a:cxn>
                    <a:cxn ang="0">
                      <a:pos x="434" y="114"/>
                    </a:cxn>
                    <a:cxn ang="0">
                      <a:pos x="430" y="90"/>
                    </a:cxn>
                    <a:cxn ang="0">
                      <a:pos x="423" y="55"/>
                    </a:cxn>
                    <a:cxn ang="0">
                      <a:pos x="413" y="29"/>
                    </a:cxn>
                    <a:cxn ang="0">
                      <a:pos x="387" y="0"/>
                    </a:cxn>
                    <a:cxn ang="0">
                      <a:pos x="361" y="26"/>
                    </a:cxn>
                    <a:cxn ang="0">
                      <a:pos x="345" y="31"/>
                    </a:cxn>
                    <a:cxn ang="0">
                      <a:pos x="326" y="47"/>
                    </a:cxn>
                    <a:cxn ang="0">
                      <a:pos x="269" y="36"/>
                    </a:cxn>
                    <a:cxn ang="0">
                      <a:pos x="87" y="36"/>
                    </a:cxn>
                    <a:cxn ang="0">
                      <a:pos x="54" y="241"/>
                    </a:cxn>
                    <a:cxn ang="0">
                      <a:pos x="30" y="246"/>
                    </a:cxn>
                    <a:cxn ang="0">
                      <a:pos x="30" y="258"/>
                    </a:cxn>
                    <a:cxn ang="0">
                      <a:pos x="16" y="272"/>
                    </a:cxn>
                    <a:cxn ang="0">
                      <a:pos x="7" y="300"/>
                    </a:cxn>
                    <a:cxn ang="0">
                      <a:pos x="9" y="322"/>
                    </a:cxn>
                    <a:cxn ang="0">
                      <a:pos x="4" y="338"/>
                    </a:cxn>
                    <a:cxn ang="0">
                      <a:pos x="19" y="338"/>
                    </a:cxn>
                    <a:cxn ang="0">
                      <a:pos x="21" y="373"/>
                    </a:cxn>
                    <a:cxn ang="0">
                      <a:pos x="35" y="385"/>
                    </a:cxn>
                    <a:cxn ang="0">
                      <a:pos x="42" y="409"/>
                    </a:cxn>
                    <a:cxn ang="0">
                      <a:pos x="54" y="430"/>
                    </a:cxn>
                    <a:cxn ang="0">
                      <a:pos x="47" y="451"/>
                    </a:cxn>
                    <a:cxn ang="0">
                      <a:pos x="49" y="463"/>
                    </a:cxn>
                    <a:cxn ang="0">
                      <a:pos x="73" y="456"/>
                    </a:cxn>
                    <a:cxn ang="0">
                      <a:pos x="78" y="447"/>
                    </a:cxn>
                    <a:cxn ang="0">
                      <a:pos x="89" y="418"/>
                    </a:cxn>
                    <a:cxn ang="0">
                      <a:pos x="115" y="416"/>
                    </a:cxn>
                    <a:cxn ang="0">
                      <a:pos x="125" y="430"/>
                    </a:cxn>
                    <a:cxn ang="0">
                      <a:pos x="170" y="433"/>
                    </a:cxn>
                    <a:cxn ang="0">
                      <a:pos x="196" y="442"/>
                    </a:cxn>
                    <a:cxn ang="0">
                      <a:pos x="234" y="411"/>
                    </a:cxn>
                    <a:cxn ang="0">
                      <a:pos x="290" y="409"/>
                    </a:cxn>
                    <a:cxn ang="0">
                      <a:pos x="307" y="364"/>
                    </a:cxn>
                    <a:cxn ang="0">
                      <a:pos x="331" y="347"/>
                    </a:cxn>
                    <a:cxn ang="0">
                      <a:pos x="328" y="378"/>
                    </a:cxn>
                    <a:cxn ang="0">
                      <a:pos x="335" y="399"/>
                    </a:cxn>
                    <a:cxn ang="0">
                      <a:pos x="357" y="423"/>
                    </a:cxn>
                    <a:cxn ang="0">
                      <a:pos x="359" y="409"/>
                    </a:cxn>
                    <a:cxn ang="0">
                      <a:pos x="368" y="399"/>
                    </a:cxn>
                    <a:cxn ang="0">
                      <a:pos x="380" y="385"/>
                    </a:cxn>
                    <a:cxn ang="0">
                      <a:pos x="382" y="364"/>
                    </a:cxn>
                    <a:cxn ang="0">
                      <a:pos x="392" y="343"/>
                    </a:cxn>
                    <a:cxn ang="0">
                      <a:pos x="411" y="333"/>
                    </a:cxn>
                    <a:cxn ang="0">
                      <a:pos x="418" y="303"/>
                    </a:cxn>
                    <a:cxn ang="0">
                      <a:pos x="416" y="262"/>
                    </a:cxn>
                    <a:cxn ang="0">
                      <a:pos x="423" y="239"/>
                    </a:cxn>
                    <a:cxn ang="0">
                      <a:pos x="430" y="215"/>
                    </a:cxn>
                  </a:cxnLst>
                  <a:rect l="0" t="0" r="r" b="b"/>
                  <a:pathLst>
                    <a:path w="475" h="466">
                      <a:moveTo>
                        <a:pt x="432" y="208"/>
                      </a:moveTo>
                      <a:lnTo>
                        <a:pt x="434" y="206"/>
                      </a:lnTo>
                      <a:lnTo>
                        <a:pt x="434" y="199"/>
                      </a:lnTo>
                      <a:lnTo>
                        <a:pt x="442" y="199"/>
                      </a:lnTo>
                      <a:lnTo>
                        <a:pt x="444" y="196"/>
                      </a:lnTo>
                      <a:lnTo>
                        <a:pt x="444" y="194"/>
                      </a:lnTo>
                      <a:lnTo>
                        <a:pt x="446" y="192"/>
                      </a:lnTo>
                      <a:lnTo>
                        <a:pt x="446" y="187"/>
                      </a:lnTo>
                      <a:lnTo>
                        <a:pt x="451" y="187"/>
                      </a:lnTo>
                      <a:lnTo>
                        <a:pt x="460" y="184"/>
                      </a:lnTo>
                      <a:lnTo>
                        <a:pt x="470" y="180"/>
                      </a:lnTo>
                      <a:lnTo>
                        <a:pt x="475" y="170"/>
                      </a:lnTo>
                      <a:lnTo>
                        <a:pt x="475" y="166"/>
                      </a:lnTo>
                      <a:lnTo>
                        <a:pt x="460" y="154"/>
                      </a:lnTo>
                      <a:lnTo>
                        <a:pt x="460" y="151"/>
                      </a:lnTo>
                      <a:lnTo>
                        <a:pt x="458" y="149"/>
                      </a:lnTo>
                      <a:lnTo>
                        <a:pt x="458" y="144"/>
                      </a:lnTo>
                      <a:lnTo>
                        <a:pt x="453" y="142"/>
                      </a:lnTo>
                      <a:lnTo>
                        <a:pt x="444" y="142"/>
                      </a:lnTo>
                      <a:lnTo>
                        <a:pt x="439" y="137"/>
                      </a:lnTo>
                      <a:lnTo>
                        <a:pt x="439" y="132"/>
                      </a:lnTo>
                      <a:lnTo>
                        <a:pt x="437" y="125"/>
                      </a:lnTo>
                      <a:lnTo>
                        <a:pt x="437" y="118"/>
                      </a:lnTo>
                      <a:lnTo>
                        <a:pt x="434" y="114"/>
                      </a:lnTo>
                      <a:lnTo>
                        <a:pt x="434" y="107"/>
                      </a:lnTo>
                      <a:lnTo>
                        <a:pt x="432" y="107"/>
                      </a:lnTo>
                      <a:lnTo>
                        <a:pt x="432" y="97"/>
                      </a:lnTo>
                      <a:lnTo>
                        <a:pt x="430" y="90"/>
                      </a:lnTo>
                      <a:lnTo>
                        <a:pt x="430" y="73"/>
                      </a:lnTo>
                      <a:lnTo>
                        <a:pt x="427" y="69"/>
                      </a:lnTo>
                      <a:lnTo>
                        <a:pt x="434" y="66"/>
                      </a:lnTo>
                      <a:lnTo>
                        <a:pt x="423" y="55"/>
                      </a:lnTo>
                      <a:lnTo>
                        <a:pt x="423" y="38"/>
                      </a:lnTo>
                      <a:lnTo>
                        <a:pt x="420" y="33"/>
                      </a:lnTo>
                      <a:lnTo>
                        <a:pt x="418" y="31"/>
                      </a:lnTo>
                      <a:lnTo>
                        <a:pt x="413" y="29"/>
                      </a:lnTo>
                      <a:lnTo>
                        <a:pt x="401" y="17"/>
                      </a:lnTo>
                      <a:lnTo>
                        <a:pt x="397" y="17"/>
                      </a:lnTo>
                      <a:lnTo>
                        <a:pt x="390" y="10"/>
                      </a:lnTo>
                      <a:lnTo>
                        <a:pt x="387" y="0"/>
                      </a:lnTo>
                      <a:lnTo>
                        <a:pt x="378" y="12"/>
                      </a:lnTo>
                      <a:lnTo>
                        <a:pt x="364" y="12"/>
                      </a:lnTo>
                      <a:lnTo>
                        <a:pt x="364" y="21"/>
                      </a:lnTo>
                      <a:lnTo>
                        <a:pt x="361" y="26"/>
                      </a:lnTo>
                      <a:lnTo>
                        <a:pt x="359" y="29"/>
                      </a:lnTo>
                      <a:lnTo>
                        <a:pt x="352" y="29"/>
                      </a:lnTo>
                      <a:lnTo>
                        <a:pt x="349" y="31"/>
                      </a:lnTo>
                      <a:lnTo>
                        <a:pt x="345" y="31"/>
                      </a:lnTo>
                      <a:lnTo>
                        <a:pt x="340" y="36"/>
                      </a:lnTo>
                      <a:lnTo>
                        <a:pt x="335" y="45"/>
                      </a:lnTo>
                      <a:lnTo>
                        <a:pt x="333" y="47"/>
                      </a:lnTo>
                      <a:lnTo>
                        <a:pt x="326" y="47"/>
                      </a:lnTo>
                      <a:lnTo>
                        <a:pt x="323" y="45"/>
                      </a:lnTo>
                      <a:lnTo>
                        <a:pt x="321" y="40"/>
                      </a:lnTo>
                      <a:lnTo>
                        <a:pt x="319" y="38"/>
                      </a:lnTo>
                      <a:lnTo>
                        <a:pt x="269" y="36"/>
                      </a:lnTo>
                      <a:lnTo>
                        <a:pt x="269" y="31"/>
                      </a:lnTo>
                      <a:lnTo>
                        <a:pt x="267" y="31"/>
                      </a:lnTo>
                      <a:lnTo>
                        <a:pt x="260" y="38"/>
                      </a:lnTo>
                      <a:lnTo>
                        <a:pt x="87" y="36"/>
                      </a:lnTo>
                      <a:lnTo>
                        <a:pt x="87" y="99"/>
                      </a:lnTo>
                      <a:lnTo>
                        <a:pt x="56" y="99"/>
                      </a:lnTo>
                      <a:lnTo>
                        <a:pt x="59" y="241"/>
                      </a:lnTo>
                      <a:lnTo>
                        <a:pt x="54" y="241"/>
                      </a:lnTo>
                      <a:lnTo>
                        <a:pt x="49" y="239"/>
                      </a:lnTo>
                      <a:lnTo>
                        <a:pt x="33" y="239"/>
                      </a:lnTo>
                      <a:lnTo>
                        <a:pt x="28" y="244"/>
                      </a:lnTo>
                      <a:lnTo>
                        <a:pt x="30" y="246"/>
                      </a:lnTo>
                      <a:lnTo>
                        <a:pt x="30" y="251"/>
                      </a:lnTo>
                      <a:lnTo>
                        <a:pt x="33" y="253"/>
                      </a:lnTo>
                      <a:lnTo>
                        <a:pt x="33" y="255"/>
                      </a:lnTo>
                      <a:lnTo>
                        <a:pt x="30" y="258"/>
                      </a:lnTo>
                      <a:lnTo>
                        <a:pt x="26" y="260"/>
                      </a:lnTo>
                      <a:lnTo>
                        <a:pt x="21" y="265"/>
                      </a:lnTo>
                      <a:lnTo>
                        <a:pt x="21" y="272"/>
                      </a:lnTo>
                      <a:lnTo>
                        <a:pt x="16" y="272"/>
                      </a:lnTo>
                      <a:lnTo>
                        <a:pt x="19" y="281"/>
                      </a:lnTo>
                      <a:lnTo>
                        <a:pt x="21" y="288"/>
                      </a:lnTo>
                      <a:lnTo>
                        <a:pt x="14" y="293"/>
                      </a:lnTo>
                      <a:lnTo>
                        <a:pt x="7" y="300"/>
                      </a:lnTo>
                      <a:lnTo>
                        <a:pt x="9" y="303"/>
                      </a:lnTo>
                      <a:lnTo>
                        <a:pt x="14" y="312"/>
                      </a:lnTo>
                      <a:lnTo>
                        <a:pt x="14" y="317"/>
                      </a:lnTo>
                      <a:lnTo>
                        <a:pt x="9" y="322"/>
                      </a:lnTo>
                      <a:lnTo>
                        <a:pt x="4" y="324"/>
                      </a:lnTo>
                      <a:lnTo>
                        <a:pt x="0" y="329"/>
                      </a:lnTo>
                      <a:lnTo>
                        <a:pt x="0" y="336"/>
                      </a:lnTo>
                      <a:lnTo>
                        <a:pt x="4" y="338"/>
                      </a:lnTo>
                      <a:lnTo>
                        <a:pt x="9" y="338"/>
                      </a:lnTo>
                      <a:lnTo>
                        <a:pt x="12" y="336"/>
                      </a:lnTo>
                      <a:lnTo>
                        <a:pt x="16" y="336"/>
                      </a:lnTo>
                      <a:lnTo>
                        <a:pt x="19" y="338"/>
                      </a:lnTo>
                      <a:lnTo>
                        <a:pt x="19" y="355"/>
                      </a:lnTo>
                      <a:lnTo>
                        <a:pt x="26" y="362"/>
                      </a:lnTo>
                      <a:lnTo>
                        <a:pt x="19" y="364"/>
                      </a:lnTo>
                      <a:lnTo>
                        <a:pt x="21" y="373"/>
                      </a:lnTo>
                      <a:lnTo>
                        <a:pt x="23" y="373"/>
                      </a:lnTo>
                      <a:lnTo>
                        <a:pt x="28" y="376"/>
                      </a:lnTo>
                      <a:lnTo>
                        <a:pt x="33" y="383"/>
                      </a:lnTo>
                      <a:lnTo>
                        <a:pt x="35" y="385"/>
                      </a:lnTo>
                      <a:lnTo>
                        <a:pt x="35" y="388"/>
                      </a:lnTo>
                      <a:lnTo>
                        <a:pt x="30" y="388"/>
                      </a:lnTo>
                      <a:lnTo>
                        <a:pt x="30" y="397"/>
                      </a:lnTo>
                      <a:lnTo>
                        <a:pt x="42" y="409"/>
                      </a:lnTo>
                      <a:lnTo>
                        <a:pt x="45" y="414"/>
                      </a:lnTo>
                      <a:lnTo>
                        <a:pt x="49" y="418"/>
                      </a:lnTo>
                      <a:lnTo>
                        <a:pt x="52" y="425"/>
                      </a:lnTo>
                      <a:lnTo>
                        <a:pt x="54" y="430"/>
                      </a:lnTo>
                      <a:lnTo>
                        <a:pt x="54" y="442"/>
                      </a:lnTo>
                      <a:lnTo>
                        <a:pt x="52" y="444"/>
                      </a:lnTo>
                      <a:lnTo>
                        <a:pt x="49" y="449"/>
                      </a:lnTo>
                      <a:lnTo>
                        <a:pt x="47" y="451"/>
                      </a:lnTo>
                      <a:lnTo>
                        <a:pt x="47" y="454"/>
                      </a:lnTo>
                      <a:lnTo>
                        <a:pt x="49" y="456"/>
                      </a:lnTo>
                      <a:lnTo>
                        <a:pt x="52" y="456"/>
                      </a:lnTo>
                      <a:lnTo>
                        <a:pt x="49" y="463"/>
                      </a:lnTo>
                      <a:lnTo>
                        <a:pt x="66" y="466"/>
                      </a:lnTo>
                      <a:lnTo>
                        <a:pt x="66" y="461"/>
                      </a:lnTo>
                      <a:lnTo>
                        <a:pt x="68" y="459"/>
                      </a:lnTo>
                      <a:lnTo>
                        <a:pt x="73" y="456"/>
                      </a:lnTo>
                      <a:lnTo>
                        <a:pt x="73" y="456"/>
                      </a:lnTo>
                      <a:lnTo>
                        <a:pt x="73" y="454"/>
                      </a:lnTo>
                      <a:lnTo>
                        <a:pt x="73" y="451"/>
                      </a:lnTo>
                      <a:lnTo>
                        <a:pt x="78" y="447"/>
                      </a:lnTo>
                      <a:lnTo>
                        <a:pt x="78" y="437"/>
                      </a:lnTo>
                      <a:lnTo>
                        <a:pt x="82" y="437"/>
                      </a:lnTo>
                      <a:lnTo>
                        <a:pt x="82" y="428"/>
                      </a:lnTo>
                      <a:lnTo>
                        <a:pt x="89" y="418"/>
                      </a:lnTo>
                      <a:lnTo>
                        <a:pt x="92" y="411"/>
                      </a:lnTo>
                      <a:lnTo>
                        <a:pt x="101" y="409"/>
                      </a:lnTo>
                      <a:lnTo>
                        <a:pt x="113" y="407"/>
                      </a:lnTo>
                      <a:lnTo>
                        <a:pt x="115" y="416"/>
                      </a:lnTo>
                      <a:lnTo>
                        <a:pt x="118" y="418"/>
                      </a:lnTo>
                      <a:lnTo>
                        <a:pt x="123" y="421"/>
                      </a:lnTo>
                      <a:lnTo>
                        <a:pt x="123" y="423"/>
                      </a:lnTo>
                      <a:lnTo>
                        <a:pt x="125" y="430"/>
                      </a:lnTo>
                      <a:lnTo>
                        <a:pt x="127" y="433"/>
                      </a:lnTo>
                      <a:lnTo>
                        <a:pt x="137" y="440"/>
                      </a:lnTo>
                      <a:lnTo>
                        <a:pt x="146" y="435"/>
                      </a:lnTo>
                      <a:lnTo>
                        <a:pt x="170" y="433"/>
                      </a:lnTo>
                      <a:lnTo>
                        <a:pt x="175" y="435"/>
                      </a:lnTo>
                      <a:lnTo>
                        <a:pt x="177" y="442"/>
                      </a:lnTo>
                      <a:lnTo>
                        <a:pt x="177" y="442"/>
                      </a:lnTo>
                      <a:lnTo>
                        <a:pt x="196" y="442"/>
                      </a:lnTo>
                      <a:lnTo>
                        <a:pt x="205" y="430"/>
                      </a:lnTo>
                      <a:lnTo>
                        <a:pt x="219" y="430"/>
                      </a:lnTo>
                      <a:lnTo>
                        <a:pt x="222" y="418"/>
                      </a:lnTo>
                      <a:lnTo>
                        <a:pt x="234" y="411"/>
                      </a:lnTo>
                      <a:lnTo>
                        <a:pt x="250" y="421"/>
                      </a:lnTo>
                      <a:lnTo>
                        <a:pt x="260" y="430"/>
                      </a:lnTo>
                      <a:lnTo>
                        <a:pt x="274" y="430"/>
                      </a:lnTo>
                      <a:lnTo>
                        <a:pt x="290" y="409"/>
                      </a:lnTo>
                      <a:lnTo>
                        <a:pt x="295" y="397"/>
                      </a:lnTo>
                      <a:lnTo>
                        <a:pt x="309" y="388"/>
                      </a:lnTo>
                      <a:lnTo>
                        <a:pt x="307" y="381"/>
                      </a:lnTo>
                      <a:lnTo>
                        <a:pt x="307" y="364"/>
                      </a:lnTo>
                      <a:lnTo>
                        <a:pt x="300" y="357"/>
                      </a:lnTo>
                      <a:lnTo>
                        <a:pt x="319" y="357"/>
                      </a:lnTo>
                      <a:lnTo>
                        <a:pt x="319" y="350"/>
                      </a:lnTo>
                      <a:lnTo>
                        <a:pt x="331" y="347"/>
                      </a:lnTo>
                      <a:lnTo>
                        <a:pt x="328" y="357"/>
                      </a:lnTo>
                      <a:lnTo>
                        <a:pt x="328" y="366"/>
                      </a:lnTo>
                      <a:lnTo>
                        <a:pt x="326" y="369"/>
                      </a:lnTo>
                      <a:lnTo>
                        <a:pt x="328" y="378"/>
                      </a:lnTo>
                      <a:lnTo>
                        <a:pt x="331" y="385"/>
                      </a:lnTo>
                      <a:lnTo>
                        <a:pt x="331" y="390"/>
                      </a:lnTo>
                      <a:lnTo>
                        <a:pt x="328" y="395"/>
                      </a:lnTo>
                      <a:lnTo>
                        <a:pt x="335" y="399"/>
                      </a:lnTo>
                      <a:lnTo>
                        <a:pt x="345" y="407"/>
                      </a:lnTo>
                      <a:lnTo>
                        <a:pt x="352" y="414"/>
                      </a:lnTo>
                      <a:lnTo>
                        <a:pt x="354" y="418"/>
                      </a:lnTo>
                      <a:lnTo>
                        <a:pt x="357" y="423"/>
                      </a:lnTo>
                      <a:lnTo>
                        <a:pt x="359" y="423"/>
                      </a:lnTo>
                      <a:lnTo>
                        <a:pt x="361" y="421"/>
                      </a:lnTo>
                      <a:lnTo>
                        <a:pt x="361" y="414"/>
                      </a:lnTo>
                      <a:lnTo>
                        <a:pt x="359" y="409"/>
                      </a:lnTo>
                      <a:lnTo>
                        <a:pt x="359" y="402"/>
                      </a:lnTo>
                      <a:lnTo>
                        <a:pt x="366" y="395"/>
                      </a:lnTo>
                      <a:lnTo>
                        <a:pt x="368" y="395"/>
                      </a:lnTo>
                      <a:lnTo>
                        <a:pt x="368" y="399"/>
                      </a:lnTo>
                      <a:lnTo>
                        <a:pt x="371" y="402"/>
                      </a:lnTo>
                      <a:lnTo>
                        <a:pt x="378" y="402"/>
                      </a:lnTo>
                      <a:lnTo>
                        <a:pt x="380" y="399"/>
                      </a:lnTo>
                      <a:lnTo>
                        <a:pt x="380" y="385"/>
                      </a:lnTo>
                      <a:lnTo>
                        <a:pt x="378" y="383"/>
                      </a:lnTo>
                      <a:lnTo>
                        <a:pt x="378" y="381"/>
                      </a:lnTo>
                      <a:lnTo>
                        <a:pt x="382" y="373"/>
                      </a:lnTo>
                      <a:lnTo>
                        <a:pt x="382" y="364"/>
                      </a:lnTo>
                      <a:lnTo>
                        <a:pt x="385" y="362"/>
                      </a:lnTo>
                      <a:lnTo>
                        <a:pt x="390" y="362"/>
                      </a:lnTo>
                      <a:lnTo>
                        <a:pt x="392" y="357"/>
                      </a:lnTo>
                      <a:lnTo>
                        <a:pt x="392" y="343"/>
                      </a:lnTo>
                      <a:lnTo>
                        <a:pt x="394" y="340"/>
                      </a:lnTo>
                      <a:lnTo>
                        <a:pt x="397" y="336"/>
                      </a:lnTo>
                      <a:lnTo>
                        <a:pt x="399" y="333"/>
                      </a:lnTo>
                      <a:lnTo>
                        <a:pt x="411" y="333"/>
                      </a:lnTo>
                      <a:lnTo>
                        <a:pt x="411" y="314"/>
                      </a:lnTo>
                      <a:lnTo>
                        <a:pt x="413" y="310"/>
                      </a:lnTo>
                      <a:lnTo>
                        <a:pt x="416" y="307"/>
                      </a:lnTo>
                      <a:lnTo>
                        <a:pt x="418" y="303"/>
                      </a:lnTo>
                      <a:lnTo>
                        <a:pt x="420" y="300"/>
                      </a:lnTo>
                      <a:lnTo>
                        <a:pt x="420" y="284"/>
                      </a:lnTo>
                      <a:lnTo>
                        <a:pt x="418" y="265"/>
                      </a:lnTo>
                      <a:lnTo>
                        <a:pt x="416" y="262"/>
                      </a:lnTo>
                      <a:lnTo>
                        <a:pt x="416" y="255"/>
                      </a:lnTo>
                      <a:lnTo>
                        <a:pt x="420" y="253"/>
                      </a:lnTo>
                      <a:lnTo>
                        <a:pt x="423" y="253"/>
                      </a:lnTo>
                      <a:lnTo>
                        <a:pt x="423" y="239"/>
                      </a:lnTo>
                      <a:lnTo>
                        <a:pt x="425" y="239"/>
                      </a:lnTo>
                      <a:lnTo>
                        <a:pt x="427" y="236"/>
                      </a:lnTo>
                      <a:lnTo>
                        <a:pt x="430" y="232"/>
                      </a:lnTo>
                      <a:lnTo>
                        <a:pt x="430" y="215"/>
                      </a:lnTo>
                      <a:lnTo>
                        <a:pt x="427" y="213"/>
                      </a:lnTo>
                      <a:lnTo>
                        <a:pt x="427" y="208"/>
                      </a:lnTo>
                      <a:lnTo>
                        <a:pt x="432" y="208"/>
                      </a:lnTo>
                      <a:close/>
                    </a:path>
                  </a:pathLst>
                </a:custGeom>
                <a:solidFill>
                  <a:schemeClr val="bg1">
                    <a:lumMod val="85000"/>
                  </a:schemeClr>
                </a:solidFill>
                <a:ln w="3175" algn="ctr">
                  <a:solidFill>
                    <a:schemeClr val="bg1">
                      <a:lumMod val="85000"/>
                    </a:schemeClr>
                  </a:solidFill>
                  <a:round/>
                  <a:headEnd/>
                  <a:tailEnd/>
                </a:ln>
                <a:effectLst/>
              </p:spPr>
              <p:txBody>
                <a:bodyPr vert="horz" wrap="none" lIns="90000" tIns="90000" rIns="72000" bIns="90000" numCol="1" anchor="ctr" anchorCtr="0" compatLnSpc="1">
                  <a:prstTxWarp prst="textNoShape">
                    <a:avLst/>
                  </a:prstTxWarp>
                </a:bodyPr>
                <a:lstStyle/>
                <a:p>
                  <a:pPr algn="ctr">
                    <a:spcBef>
                      <a:spcPct val="0"/>
                    </a:spcBef>
                  </a:pPr>
                  <a:endParaRPr lang="en-US" sz="1800" dirty="0">
                    <a:solidFill>
                      <a:schemeClr val="tx1"/>
                    </a:solidFill>
                    <a:latin typeface="Calibri" pitchFamily="34" charset="0"/>
                    <a:cs typeface="Calibri" pitchFamily="34" charset="0"/>
                  </a:endParaRPr>
                </a:p>
              </p:txBody>
            </p:sp>
            <p:sp>
              <p:nvSpPr>
                <p:cNvPr id="461" name="Freeform 9">
                  <a:extLst>
                    <a:ext uri="{FF2B5EF4-FFF2-40B4-BE49-F238E27FC236}">
                      <a16:creationId xmlns:a16="http://schemas.microsoft.com/office/drawing/2014/main" id="{9BFB348F-A079-4704-9E1D-AB280260A2B4}"/>
                    </a:ext>
                  </a:extLst>
                </p:cNvPr>
                <p:cNvSpPr>
                  <a:spLocks/>
                </p:cNvSpPr>
                <p:nvPr/>
              </p:nvSpPr>
              <p:spPr bwMode="auto">
                <a:xfrm>
                  <a:off x="4880898" y="3006569"/>
                  <a:ext cx="327253" cy="273648"/>
                </a:xfrm>
                <a:custGeom>
                  <a:avLst/>
                  <a:gdLst/>
                  <a:ahLst/>
                  <a:cxnLst>
                    <a:cxn ang="0">
                      <a:pos x="269" y="52"/>
                    </a:cxn>
                    <a:cxn ang="0">
                      <a:pos x="265" y="38"/>
                    </a:cxn>
                    <a:cxn ang="0">
                      <a:pos x="262" y="19"/>
                    </a:cxn>
                    <a:cxn ang="0">
                      <a:pos x="253" y="3"/>
                    </a:cxn>
                    <a:cxn ang="0">
                      <a:pos x="241" y="17"/>
                    </a:cxn>
                    <a:cxn ang="0">
                      <a:pos x="229" y="50"/>
                    </a:cxn>
                    <a:cxn ang="0">
                      <a:pos x="194" y="83"/>
                    </a:cxn>
                    <a:cxn ang="0">
                      <a:pos x="156" y="71"/>
                    </a:cxn>
                    <a:cxn ang="0">
                      <a:pos x="130" y="95"/>
                    </a:cxn>
                    <a:cxn ang="0">
                      <a:pos x="109" y="88"/>
                    </a:cxn>
                    <a:cxn ang="0">
                      <a:pos x="71" y="93"/>
                    </a:cxn>
                    <a:cxn ang="0">
                      <a:pos x="57" y="76"/>
                    </a:cxn>
                    <a:cxn ang="0">
                      <a:pos x="49" y="69"/>
                    </a:cxn>
                    <a:cxn ang="0">
                      <a:pos x="26" y="64"/>
                    </a:cxn>
                    <a:cxn ang="0">
                      <a:pos x="16" y="90"/>
                    </a:cxn>
                    <a:cxn ang="0">
                      <a:pos x="7" y="104"/>
                    </a:cxn>
                    <a:cxn ang="0">
                      <a:pos x="7" y="109"/>
                    </a:cxn>
                    <a:cxn ang="0">
                      <a:pos x="0" y="119"/>
                    </a:cxn>
                    <a:cxn ang="0">
                      <a:pos x="12" y="135"/>
                    </a:cxn>
                    <a:cxn ang="0">
                      <a:pos x="28" y="142"/>
                    </a:cxn>
                    <a:cxn ang="0">
                      <a:pos x="38" y="152"/>
                    </a:cxn>
                    <a:cxn ang="0">
                      <a:pos x="33" y="154"/>
                    </a:cxn>
                    <a:cxn ang="0">
                      <a:pos x="42" y="164"/>
                    </a:cxn>
                    <a:cxn ang="0">
                      <a:pos x="54" y="173"/>
                    </a:cxn>
                    <a:cxn ang="0">
                      <a:pos x="59" y="182"/>
                    </a:cxn>
                    <a:cxn ang="0">
                      <a:pos x="68" y="190"/>
                    </a:cxn>
                    <a:cxn ang="0">
                      <a:pos x="68" y="197"/>
                    </a:cxn>
                    <a:cxn ang="0">
                      <a:pos x="83" y="208"/>
                    </a:cxn>
                    <a:cxn ang="0">
                      <a:pos x="92" y="218"/>
                    </a:cxn>
                    <a:cxn ang="0">
                      <a:pos x="106" y="241"/>
                    </a:cxn>
                    <a:cxn ang="0">
                      <a:pos x="127" y="258"/>
                    </a:cxn>
                    <a:cxn ang="0">
                      <a:pos x="137" y="251"/>
                    </a:cxn>
                    <a:cxn ang="0">
                      <a:pos x="146" y="258"/>
                    </a:cxn>
                    <a:cxn ang="0">
                      <a:pos x="156" y="251"/>
                    </a:cxn>
                    <a:cxn ang="0">
                      <a:pos x="168" y="251"/>
                    </a:cxn>
                    <a:cxn ang="0">
                      <a:pos x="177" y="267"/>
                    </a:cxn>
                    <a:cxn ang="0">
                      <a:pos x="187" y="272"/>
                    </a:cxn>
                    <a:cxn ang="0">
                      <a:pos x="203" y="275"/>
                    </a:cxn>
                    <a:cxn ang="0">
                      <a:pos x="215" y="279"/>
                    </a:cxn>
                    <a:cxn ang="0">
                      <a:pos x="222" y="275"/>
                    </a:cxn>
                    <a:cxn ang="0">
                      <a:pos x="243" y="277"/>
                    </a:cxn>
                    <a:cxn ang="0">
                      <a:pos x="262" y="272"/>
                    </a:cxn>
                    <a:cxn ang="0">
                      <a:pos x="274" y="277"/>
                    </a:cxn>
                    <a:cxn ang="0">
                      <a:pos x="283" y="265"/>
                    </a:cxn>
                    <a:cxn ang="0">
                      <a:pos x="295" y="251"/>
                    </a:cxn>
                    <a:cxn ang="0">
                      <a:pos x="340" y="239"/>
                    </a:cxn>
                    <a:cxn ang="0">
                      <a:pos x="335" y="225"/>
                    </a:cxn>
                    <a:cxn ang="0">
                      <a:pos x="316" y="208"/>
                    </a:cxn>
                    <a:cxn ang="0">
                      <a:pos x="312" y="185"/>
                    </a:cxn>
                    <a:cxn ang="0">
                      <a:pos x="293" y="175"/>
                    </a:cxn>
                    <a:cxn ang="0">
                      <a:pos x="286" y="159"/>
                    </a:cxn>
                    <a:cxn ang="0">
                      <a:pos x="276" y="149"/>
                    </a:cxn>
                    <a:cxn ang="0">
                      <a:pos x="260" y="147"/>
                    </a:cxn>
                    <a:cxn ang="0">
                      <a:pos x="265" y="135"/>
                    </a:cxn>
                    <a:cxn ang="0">
                      <a:pos x="279" y="128"/>
                    </a:cxn>
                    <a:cxn ang="0">
                      <a:pos x="288" y="123"/>
                    </a:cxn>
                    <a:cxn ang="0">
                      <a:pos x="291" y="100"/>
                    </a:cxn>
                    <a:cxn ang="0">
                      <a:pos x="286" y="88"/>
                    </a:cxn>
                    <a:cxn ang="0">
                      <a:pos x="291" y="76"/>
                    </a:cxn>
                  </a:cxnLst>
                  <a:rect l="0" t="0" r="r" b="b"/>
                  <a:pathLst>
                    <a:path w="342" h="286">
                      <a:moveTo>
                        <a:pt x="286" y="67"/>
                      </a:moveTo>
                      <a:lnTo>
                        <a:pt x="279" y="60"/>
                      </a:lnTo>
                      <a:lnTo>
                        <a:pt x="269" y="52"/>
                      </a:lnTo>
                      <a:lnTo>
                        <a:pt x="262" y="48"/>
                      </a:lnTo>
                      <a:lnTo>
                        <a:pt x="265" y="43"/>
                      </a:lnTo>
                      <a:lnTo>
                        <a:pt x="265" y="38"/>
                      </a:lnTo>
                      <a:lnTo>
                        <a:pt x="262" y="31"/>
                      </a:lnTo>
                      <a:lnTo>
                        <a:pt x="260" y="22"/>
                      </a:lnTo>
                      <a:lnTo>
                        <a:pt x="262" y="19"/>
                      </a:lnTo>
                      <a:lnTo>
                        <a:pt x="262" y="10"/>
                      </a:lnTo>
                      <a:lnTo>
                        <a:pt x="265" y="0"/>
                      </a:lnTo>
                      <a:lnTo>
                        <a:pt x="253" y="3"/>
                      </a:lnTo>
                      <a:lnTo>
                        <a:pt x="253" y="10"/>
                      </a:lnTo>
                      <a:lnTo>
                        <a:pt x="234" y="10"/>
                      </a:lnTo>
                      <a:lnTo>
                        <a:pt x="241" y="17"/>
                      </a:lnTo>
                      <a:lnTo>
                        <a:pt x="241" y="34"/>
                      </a:lnTo>
                      <a:lnTo>
                        <a:pt x="243" y="41"/>
                      </a:lnTo>
                      <a:lnTo>
                        <a:pt x="229" y="50"/>
                      </a:lnTo>
                      <a:lnTo>
                        <a:pt x="224" y="62"/>
                      </a:lnTo>
                      <a:lnTo>
                        <a:pt x="208" y="83"/>
                      </a:lnTo>
                      <a:lnTo>
                        <a:pt x="194" y="83"/>
                      </a:lnTo>
                      <a:lnTo>
                        <a:pt x="184" y="74"/>
                      </a:lnTo>
                      <a:lnTo>
                        <a:pt x="168" y="64"/>
                      </a:lnTo>
                      <a:lnTo>
                        <a:pt x="156" y="71"/>
                      </a:lnTo>
                      <a:lnTo>
                        <a:pt x="153" y="83"/>
                      </a:lnTo>
                      <a:lnTo>
                        <a:pt x="139" y="83"/>
                      </a:lnTo>
                      <a:lnTo>
                        <a:pt x="130" y="95"/>
                      </a:lnTo>
                      <a:lnTo>
                        <a:pt x="111" y="95"/>
                      </a:lnTo>
                      <a:lnTo>
                        <a:pt x="111" y="95"/>
                      </a:lnTo>
                      <a:lnTo>
                        <a:pt x="109" y="88"/>
                      </a:lnTo>
                      <a:lnTo>
                        <a:pt x="104" y="86"/>
                      </a:lnTo>
                      <a:lnTo>
                        <a:pt x="80" y="88"/>
                      </a:lnTo>
                      <a:lnTo>
                        <a:pt x="71" y="93"/>
                      </a:lnTo>
                      <a:lnTo>
                        <a:pt x="61" y="86"/>
                      </a:lnTo>
                      <a:lnTo>
                        <a:pt x="59" y="83"/>
                      </a:lnTo>
                      <a:lnTo>
                        <a:pt x="57" y="76"/>
                      </a:lnTo>
                      <a:lnTo>
                        <a:pt x="57" y="74"/>
                      </a:lnTo>
                      <a:lnTo>
                        <a:pt x="52" y="71"/>
                      </a:lnTo>
                      <a:lnTo>
                        <a:pt x="49" y="69"/>
                      </a:lnTo>
                      <a:lnTo>
                        <a:pt x="47" y="60"/>
                      </a:lnTo>
                      <a:lnTo>
                        <a:pt x="35" y="62"/>
                      </a:lnTo>
                      <a:lnTo>
                        <a:pt x="26" y="64"/>
                      </a:lnTo>
                      <a:lnTo>
                        <a:pt x="23" y="71"/>
                      </a:lnTo>
                      <a:lnTo>
                        <a:pt x="16" y="81"/>
                      </a:lnTo>
                      <a:lnTo>
                        <a:pt x="16" y="90"/>
                      </a:lnTo>
                      <a:lnTo>
                        <a:pt x="12" y="90"/>
                      </a:lnTo>
                      <a:lnTo>
                        <a:pt x="12" y="100"/>
                      </a:lnTo>
                      <a:lnTo>
                        <a:pt x="7" y="104"/>
                      </a:lnTo>
                      <a:lnTo>
                        <a:pt x="7" y="107"/>
                      </a:lnTo>
                      <a:lnTo>
                        <a:pt x="7" y="109"/>
                      </a:lnTo>
                      <a:lnTo>
                        <a:pt x="7" y="109"/>
                      </a:lnTo>
                      <a:lnTo>
                        <a:pt x="2" y="112"/>
                      </a:lnTo>
                      <a:lnTo>
                        <a:pt x="0" y="114"/>
                      </a:lnTo>
                      <a:lnTo>
                        <a:pt x="0" y="119"/>
                      </a:lnTo>
                      <a:lnTo>
                        <a:pt x="2" y="119"/>
                      </a:lnTo>
                      <a:lnTo>
                        <a:pt x="2" y="130"/>
                      </a:lnTo>
                      <a:lnTo>
                        <a:pt x="12" y="135"/>
                      </a:lnTo>
                      <a:lnTo>
                        <a:pt x="26" y="135"/>
                      </a:lnTo>
                      <a:lnTo>
                        <a:pt x="26" y="142"/>
                      </a:lnTo>
                      <a:lnTo>
                        <a:pt x="28" y="142"/>
                      </a:lnTo>
                      <a:lnTo>
                        <a:pt x="33" y="145"/>
                      </a:lnTo>
                      <a:lnTo>
                        <a:pt x="38" y="149"/>
                      </a:lnTo>
                      <a:lnTo>
                        <a:pt x="38" y="152"/>
                      </a:lnTo>
                      <a:lnTo>
                        <a:pt x="35" y="152"/>
                      </a:lnTo>
                      <a:lnTo>
                        <a:pt x="35" y="154"/>
                      </a:lnTo>
                      <a:lnTo>
                        <a:pt x="33" y="154"/>
                      </a:lnTo>
                      <a:lnTo>
                        <a:pt x="33" y="156"/>
                      </a:lnTo>
                      <a:lnTo>
                        <a:pt x="38" y="161"/>
                      </a:lnTo>
                      <a:lnTo>
                        <a:pt x="42" y="164"/>
                      </a:lnTo>
                      <a:lnTo>
                        <a:pt x="45" y="164"/>
                      </a:lnTo>
                      <a:lnTo>
                        <a:pt x="49" y="166"/>
                      </a:lnTo>
                      <a:lnTo>
                        <a:pt x="54" y="173"/>
                      </a:lnTo>
                      <a:lnTo>
                        <a:pt x="57" y="178"/>
                      </a:lnTo>
                      <a:lnTo>
                        <a:pt x="59" y="180"/>
                      </a:lnTo>
                      <a:lnTo>
                        <a:pt x="59" y="182"/>
                      </a:lnTo>
                      <a:lnTo>
                        <a:pt x="66" y="182"/>
                      </a:lnTo>
                      <a:lnTo>
                        <a:pt x="68" y="185"/>
                      </a:lnTo>
                      <a:lnTo>
                        <a:pt x="68" y="190"/>
                      </a:lnTo>
                      <a:lnTo>
                        <a:pt x="64" y="190"/>
                      </a:lnTo>
                      <a:lnTo>
                        <a:pt x="64" y="192"/>
                      </a:lnTo>
                      <a:lnTo>
                        <a:pt x="68" y="197"/>
                      </a:lnTo>
                      <a:lnTo>
                        <a:pt x="68" y="204"/>
                      </a:lnTo>
                      <a:lnTo>
                        <a:pt x="80" y="206"/>
                      </a:lnTo>
                      <a:lnTo>
                        <a:pt x="83" y="208"/>
                      </a:lnTo>
                      <a:lnTo>
                        <a:pt x="87" y="211"/>
                      </a:lnTo>
                      <a:lnTo>
                        <a:pt x="90" y="213"/>
                      </a:lnTo>
                      <a:lnTo>
                        <a:pt x="92" y="218"/>
                      </a:lnTo>
                      <a:lnTo>
                        <a:pt x="92" y="227"/>
                      </a:lnTo>
                      <a:lnTo>
                        <a:pt x="94" y="232"/>
                      </a:lnTo>
                      <a:lnTo>
                        <a:pt x="106" y="241"/>
                      </a:lnTo>
                      <a:lnTo>
                        <a:pt x="106" y="251"/>
                      </a:lnTo>
                      <a:lnTo>
                        <a:pt x="125" y="260"/>
                      </a:lnTo>
                      <a:lnTo>
                        <a:pt x="127" y="258"/>
                      </a:lnTo>
                      <a:lnTo>
                        <a:pt x="130" y="253"/>
                      </a:lnTo>
                      <a:lnTo>
                        <a:pt x="132" y="251"/>
                      </a:lnTo>
                      <a:lnTo>
                        <a:pt x="137" y="251"/>
                      </a:lnTo>
                      <a:lnTo>
                        <a:pt x="142" y="253"/>
                      </a:lnTo>
                      <a:lnTo>
                        <a:pt x="142" y="256"/>
                      </a:lnTo>
                      <a:lnTo>
                        <a:pt x="146" y="258"/>
                      </a:lnTo>
                      <a:lnTo>
                        <a:pt x="149" y="258"/>
                      </a:lnTo>
                      <a:lnTo>
                        <a:pt x="156" y="253"/>
                      </a:lnTo>
                      <a:lnTo>
                        <a:pt x="156" y="251"/>
                      </a:lnTo>
                      <a:lnTo>
                        <a:pt x="161" y="246"/>
                      </a:lnTo>
                      <a:lnTo>
                        <a:pt x="163" y="249"/>
                      </a:lnTo>
                      <a:lnTo>
                        <a:pt x="168" y="251"/>
                      </a:lnTo>
                      <a:lnTo>
                        <a:pt x="170" y="258"/>
                      </a:lnTo>
                      <a:lnTo>
                        <a:pt x="172" y="263"/>
                      </a:lnTo>
                      <a:lnTo>
                        <a:pt x="177" y="267"/>
                      </a:lnTo>
                      <a:lnTo>
                        <a:pt x="182" y="270"/>
                      </a:lnTo>
                      <a:lnTo>
                        <a:pt x="184" y="272"/>
                      </a:lnTo>
                      <a:lnTo>
                        <a:pt x="187" y="272"/>
                      </a:lnTo>
                      <a:lnTo>
                        <a:pt x="189" y="282"/>
                      </a:lnTo>
                      <a:lnTo>
                        <a:pt x="196" y="282"/>
                      </a:lnTo>
                      <a:lnTo>
                        <a:pt x="203" y="275"/>
                      </a:lnTo>
                      <a:lnTo>
                        <a:pt x="208" y="275"/>
                      </a:lnTo>
                      <a:lnTo>
                        <a:pt x="210" y="277"/>
                      </a:lnTo>
                      <a:lnTo>
                        <a:pt x="215" y="279"/>
                      </a:lnTo>
                      <a:lnTo>
                        <a:pt x="220" y="279"/>
                      </a:lnTo>
                      <a:lnTo>
                        <a:pt x="220" y="277"/>
                      </a:lnTo>
                      <a:lnTo>
                        <a:pt x="222" y="275"/>
                      </a:lnTo>
                      <a:lnTo>
                        <a:pt x="224" y="275"/>
                      </a:lnTo>
                      <a:lnTo>
                        <a:pt x="236" y="286"/>
                      </a:lnTo>
                      <a:lnTo>
                        <a:pt x="243" y="277"/>
                      </a:lnTo>
                      <a:lnTo>
                        <a:pt x="253" y="277"/>
                      </a:lnTo>
                      <a:lnTo>
                        <a:pt x="257" y="272"/>
                      </a:lnTo>
                      <a:lnTo>
                        <a:pt x="262" y="272"/>
                      </a:lnTo>
                      <a:lnTo>
                        <a:pt x="262" y="275"/>
                      </a:lnTo>
                      <a:lnTo>
                        <a:pt x="265" y="277"/>
                      </a:lnTo>
                      <a:lnTo>
                        <a:pt x="274" y="277"/>
                      </a:lnTo>
                      <a:lnTo>
                        <a:pt x="281" y="270"/>
                      </a:lnTo>
                      <a:lnTo>
                        <a:pt x="281" y="267"/>
                      </a:lnTo>
                      <a:lnTo>
                        <a:pt x="283" y="265"/>
                      </a:lnTo>
                      <a:lnTo>
                        <a:pt x="283" y="263"/>
                      </a:lnTo>
                      <a:lnTo>
                        <a:pt x="288" y="263"/>
                      </a:lnTo>
                      <a:lnTo>
                        <a:pt x="295" y="251"/>
                      </a:lnTo>
                      <a:lnTo>
                        <a:pt x="333" y="251"/>
                      </a:lnTo>
                      <a:lnTo>
                        <a:pt x="342" y="246"/>
                      </a:lnTo>
                      <a:lnTo>
                        <a:pt x="340" y="239"/>
                      </a:lnTo>
                      <a:lnTo>
                        <a:pt x="340" y="232"/>
                      </a:lnTo>
                      <a:lnTo>
                        <a:pt x="338" y="227"/>
                      </a:lnTo>
                      <a:lnTo>
                        <a:pt x="335" y="225"/>
                      </a:lnTo>
                      <a:lnTo>
                        <a:pt x="328" y="225"/>
                      </a:lnTo>
                      <a:lnTo>
                        <a:pt x="324" y="223"/>
                      </a:lnTo>
                      <a:lnTo>
                        <a:pt x="316" y="208"/>
                      </a:lnTo>
                      <a:lnTo>
                        <a:pt x="316" y="201"/>
                      </a:lnTo>
                      <a:lnTo>
                        <a:pt x="312" y="199"/>
                      </a:lnTo>
                      <a:lnTo>
                        <a:pt x="312" y="185"/>
                      </a:lnTo>
                      <a:lnTo>
                        <a:pt x="305" y="185"/>
                      </a:lnTo>
                      <a:lnTo>
                        <a:pt x="302" y="175"/>
                      </a:lnTo>
                      <a:lnTo>
                        <a:pt x="293" y="175"/>
                      </a:lnTo>
                      <a:lnTo>
                        <a:pt x="291" y="168"/>
                      </a:lnTo>
                      <a:lnTo>
                        <a:pt x="291" y="161"/>
                      </a:lnTo>
                      <a:lnTo>
                        <a:pt x="286" y="159"/>
                      </a:lnTo>
                      <a:lnTo>
                        <a:pt x="283" y="154"/>
                      </a:lnTo>
                      <a:lnTo>
                        <a:pt x="279" y="152"/>
                      </a:lnTo>
                      <a:lnTo>
                        <a:pt x="276" y="149"/>
                      </a:lnTo>
                      <a:lnTo>
                        <a:pt x="267" y="149"/>
                      </a:lnTo>
                      <a:lnTo>
                        <a:pt x="262" y="147"/>
                      </a:lnTo>
                      <a:lnTo>
                        <a:pt x="260" y="147"/>
                      </a:lnTo>
                      <a:lnTo>
                        <a:pt x="260" y="142"/>
                      </a:lnTo>
                      <a:lnTo>
                        <a:pt x="262" y="138"/>
                      </a:lnTo>
                      <a:lnTo>
                        <a:pt x="265" y="135"/>
                      </a:lnTo>
                      <a:lnTo>
                        <a:pt x="262" y="126"/>
                      </a:lnTo>
                      <a:lnTo>
                        <a:pt x="276" y="126"/>
                      </a:lnTo>
                      <a:lnTo>
                        <a:pt x="279" y="128"/>
                      </a:lnTo>
                      <a:lnTo>
                        <a:pt x="281" y="126"/>
                      </a:lnTo>
                      <a:lnTo>
                        <a:pt x="286" y="126"/>
                      </a:lnTo>
                      <a:lnTo>
                        <a:pt x="288" y="123"/>
                      </a:lnTo>
                      <a:lnTo>
                        <a:pt x="288" y="119"/>
                      </a:lnTo>
                      <a:lnTo>
                        <a:pt x="291" y="114"/>
                      </a:lnTo>
                      <a:lnTo>
                        <a:pt x="291" y="100"/>
                      </a:lnTo>
                      <a:lnTo>
                        <a:pt x="288" y="97"/>
                      </a:lnTo>
                      <a:lnTo>
                        <a:pt x="288" y="93"/>
                      </a:lnTo>
                      <a:lnTo>
                        <a:pt x="286" y="88"/>
                      </a:lnTo>
                      <a:lnTo>
                        <a:pt x="286" y="83"/>
                      </a:lnTo>
                      <a:lnTo>
                        <a:pt x="288" y="78"/>
                      </a:lnTo>
                      <a:lnTo>
                        <a:pt x="291" y="76"/>
                      </a:lnTo>
                      <a:lnTo>
                        <a:pt x="288" y="71"/>
                      </a:lnTo>
                      <a:lnTo>
                        <a:pt x="286" y="67"/>
                      </a:lnTo>
                      <a:close/>
                    </a:path>
                  </a:pathLst>
                </a:custGeom>
                <a:solidFill>
                  <a:schemeClr val="bg1">
                    <a:lumMod val="85000"/>
                  </a:schemeClr>
                </a:solidFill>
                <a:ln w="3175" algn="ctr">
                  <a:solidFill>
                    <a:schemeClr val="bg1">
                      <a:lumMod val="85000"/>
                    </a:schemeClr>
                  </a:solidFill>
                  <a:round/>
                  <a:headEnd/>
                  <a:tailEnd/>
                </a:ln>
                <a:effectLst/>
              </p:spPr>
              <p:txBody>
                <a:bodyPr vert="horz" wrap="none" lIns="90000" tIns="90000" rIns="72000" bIns="90000" numCol="1" anchor="ctr" anchorCtr="0" compatLnSpc="1">
                  <a:prstTxWarp prst="textNoShape">
                    <a:avLst/>
                  </a:prstTxWarp>
                </a:bodyPr>
                <a:lstStyle/>
                <a:p>
                  <a:pPr algn="ctr">
                    <a:spcBef>
                      <a:spcPct val="0"/>
                    </a:spcBef>
                  </a:pPr>
                  <a:endParaRPr lang="en-US" sz="1800" dirty="0">
                    <a:solidFill>
                      <a:schemeClr val="tx1"/>
                    </a:solidFill>
                    <a:latin typeface="Calibri" pitchFamily="34" charset="0"/>
                    <a:cs typeface="Calibri" pitchFamily="34" charset="0"/>
                  </a:endParaRPr>
                </a:p>
              </p:txBody>
            </p:sp>
          </p:grpSp>
        </p:grpSp>
      </p:grpSp>
      <p:sp>
        <p:nvSpPr>
          <p:cNvPr id="10" name="Title 9">
            <a:extLst>
              <a:ext uri="{FF2B5EF4-FFF2-40B4-BE49-F238E27FC236}">
                <a16:creationId xmlns:a16="http://schemas.microsoft.com/office/drawing/2014/main" id="{9F3C65ED-A17F-4254-99E8-275B4DB79266}"/>
              </a:ext>
            </a:extLst>
          </p:cNvPr>
          <p:cNvSpPr>
            <a:spLocks noGrp="1"/>
          </p:cNvSpPr>
          <p:nvPr>
            <p:ph type="title"/>
          </p:nvPr>
        </p:nvSpPr>
        <p:spPr/>
        <p:txBody>
          <a:bodyPr/>
          <a:lstStyle/>
          <a:p>
            <a:r>
              <a:rPr lang="en-GB" dirty="0"/>
              <a:t>FIA WEC 2023 Broadcast Partners</a:t>
            </a:r>
          </a:p>
        </p:txBody>
      </p:sp>
      <p:sp>
        <p:nvSpPr>
          <p:cNvPr id="158" name="Slide Number Placeholder 2">
            <a:extLst>
              <a:ext uri="{FF2B5EF4-FFF2-40B4-BE49-F238E27FC236}">
                <a16:creationId xmlns:a16="http://schemas.microsoft.com/office/drawing/2014/main" id="{0426ADB9-A609-46D1-963C-E68C38CA164B}"/>
              </a:ext>
            </a:extLst>
          </p:cNvPr>
          <p:cNvSpPr>
            <a:spLocks noGrp="1"/>
          </p:cNvSpPr>
          <p:nvPr>
            <p:ph type="sldNum" sz="quarter" idx="12"/>
          </p:nvPr>
        </p:nvSpPr>
        <p:spPr/>
        <p:txBody>
          <a:bodyPr/>
          <a:lstStyle/>
          <a:p>
            <a:fld id="{9B60B346-FC99-4236-B943-65AE761B958F}" type="slidenum">
              <a:rPr lang="de-CH" smtClean="0"/>
              <a:t>2</a:t>
            </a:fld>
            <a:endParaRPr lang="de-CH" dirty="0"/>
          </a:p>
        </p:txBody>
      </p:sp>
      <p:sp>
        <p:nvSpPr>
          <p:cNvPr id="2" name="Footer Placeholder 1">
            <a:extLst>
              <a:ext uri="{FF2B5EF4-FFF2-40B4-BE49-F238E27FC236}">
                <a16:creationId xmlns:a16="http://schemas.microsoft.com/office/drawing/2014/main" id="{CD6571C0-7713-4980-99C1-F3D1BD06AB14}"/>
              </a:ext>
            </a:extLst>
          </p:cNvPr>
          <p:cNvSpPr>
            <a:spLocks noGrp="1"/>
          </p:cNvSpPr>
          <p:nvPr>
            <p:ph type="ftr" sz="quarter" idx="14"/>
          </p:nvPr>
        </p:nvSpPr>
        <p:spPr/>
        <p:txBody>
          <a:bodyPr/>
          <a:lstStyle/>
          <a:p>
            <a:r>
              <a:rPr lang="de-CH" dirty="0"/>
              <a:t>#</a:t>
            </a:r>
            <a:r>
              <a:rPr lang="de-CH" dirty="0" err="1"/>
              <a:t>AllAboutSports</a:t>
            </a:r>
            <a:endParaRPr lang="de-CH" dirty="0"/>
          </a:p>
        </p:txBody>
      </p:sp>
      <p:sp>
        <p:nvSpPr>
          <p:cNvPr id="20" name="Round Diagonal Corner Rectangle 74">
            <a:extLst>
              <a:ext uri="{FF2B5EF4-FFF2-40B4-BE49-F238E27FC236}">
                <a16:creationId xmlns:a16="http://schemas.microsoft.com/office/drawing/2014/main" id="{A2AB56C5-53E6-40F5-9D4A-7F05BFD7813F}"/>
              </a:ext>
            </a:extLst>
          </p:cNvPr>
          <p:cNvSpPr/>
          <p:nvPr/>
        </p:nvSpPr>
        <p:spPr bwMode="blackWhite">
          <a:xfrm>
            <a:off x="2272129" y="2679855"/>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21" name="Straight Connector 76">
            <a:extLst>
              <a:ext uri="{FF2B5EF4-FFF2-40B4-BE49-F238E27FC236}">
                <a16:creationId xmlns:a16="http://schemas.microsoft.com/office/drawing/2014/main" id="{DFED3080-5E5A-41B0-AADD-5B07CB53F9E7}"/>
              </a:ext>
            </a:extLst>
          </p:cNvPr>
          <p:cNvCxnSpPr>
            <a:cxnSpLocks/>
            <a:stCxn id="20" idx="2"/>
          </p:cNvCxnSpPr>
          <p:nvPr/>
        </p:nvCxnSpPr>
        <p:spPr bwMode="auto">
          <a:xfrm flipH="1">
            <a:off x="2555429" y="2967855"/>
            <a:ext cx="40700" cy="448626"/>
          </a:xfrm>
          <a:prstGeom prst="line">
            <a:avLst/>
          </a:prstGeom>
          <a:noFill/>
          <a:ln w="12700" algn="ctr">
            <a:solidFill>
              <a:schemeClr val="tx2"/>
            </a:solidFill>
            <a:round/>
            <a:headEnd/>
            <a:tailEnd type="oval" w="sm" len="sm"/>
          </a:ln>
          <a:effectLst/>
        </p:spPr>
      </p:cxnSp>
      <p:sp>
        <p:nvSpPr>
          <p:cNvPr id="22" name="Round Diagonal Corner Rectangle 80">
            <a:extLst>
              <a:ext uri="{FF2B5EF4-FFF2-40B4-BE49-F238E27FC236}">
                <a16:creationId xmlns:a16="http://schemas.microsoft.com/office/drawing/2014/main" id="{703946FD-FABF-4BBD-BCE6-F1914DE14AC6}"/>
              </a:ext>
            </a:extLst>
          </p:cNvPr>
          <p:cNvSpPr/>
          <p:nvPr/>
        </p:nvSpPr>
        <p:spPr bwMode="blackWhite">
          <a:xfrm>
            <a:off x="6801073" y="1205004"/>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r>
              <a:rPr lang="en-GB" sz="700" dirty="0">
                <a:solidFill>
                  <a:schemeClr val="tx2"/>
                </a:solidFill>
                <a:highlight>
                  <a:srgbClr val="00FF00"/>
                </a:highlight>
                <a:latin typeface="Arial" charset="0"/>
              </a:rPr>
              <a:t>&lt;</a:t>
            </a:r>
          </a:p>
        </p:txBody>
      </p:sp>
      <p:pic>
        <p:nvPicPr>
          <p:cNvPr id="23" name="Picture 81">
            <a:extLst>
              <a:ext uri="{FF2B5EF4-FFF2-40B4-BE49-F238E27FC236}">
                <a16:creationId xmlns:a16="http://schemas.microsoft.com/office/drawing/2014/main" id="{7F5E335D-8E27-4131-B698-E4C7F49966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67405" y="1252292"/>
            <a:ext cx="515337" cy="1934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4" name="Straight Connector 82">
            <a:extLst>
              <a:ext uri="{FF2B5EF4-FFF2-40B4-BE49-F238E27FC236}">
                <a16:creationId xmlns:a16="http://schemas.microsoft.com/office/drawing/2014/main" id="{40202C64-A377-47C3-BB58-03C3C897E58B}"/>
              </a:ext>
            </a:extLst>
          </p:cNvPr>
          <p:cNvCxnSpPr>
            <a:cxnSpLocks/>
            <a:stCxn id="22" idx="2"/>
          </p:cNvCxnSpPr>
          <p:nvPr/>
        </p:nvCxnSpPr>
        <p:spPr bwMode="auto">
          <a:xfrm flipH="1">
            <a:off x="7009638" y="1493004"/>
            <a:ext cx="115435" cy="472062"/>
          </a:xfrm>
          <a:prstGeom prst="line">
            <a:avLst/>
          </a:prstGeom>
          <a:noFill/>
          <a:ln w="12700" algn="ctr">
            <a:solidFill>
              <a:schemeClr val="tx2"/>
            </a:solidFill>
            <a:round/>
            <a:headEnd/>
            <a:tailEnd type="oval" w="sm" len="sm"/>
          </a:ln>
          <a:effectLst/>
        </p:spPr>
      </p:cxnSp>
      <p:sp>
        <p:nvSpPr>
          <p:cNvPr id="25" name="Round Diagonal Corner Rectangle 132">
            <a:extLst>
              <a:ext uri="{FF2B5EF4-FFF2-40B4-BE49-F238E27FC236}">
                <a16:creationId xmlns:a16="http://schemas.microsoft.com/office/drawing/2014/main" id="{1B7CDF43-C773-40C5-8534-BB922173ED5F}"/>
              </a:ext>
            </a:extLst>
          </p:cNvPr>
          <p:cNvSpPr/>
          <p:nvPr/>
        </p:nvSpPr>
        <p:spPr bwMode="blackWhite">
          <a:xfrm>
            <a:off x="4119270" y="2474485"/>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26" name="Picture 2">
            <a:extLst>
              <a:ext uri="{FF2B5EF4-FFF2-40B4-BE49-F238E27FC236}">
                <a16:creationId xmlns:a16="http://schemas.microsoft.com/office/drawing/2014/main" id="{F26E9E39-94B8-40DE-810F-B69E553C94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24030" y="2521996"/>
            <a:ext cx="438481" cy="19297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cxnSp>
        <p:nvCxnSpPr>
          <p:cNvPr id="27" name="Straight Connector 141">
            <a:extLst>
              <a:ext uri="{FF2B5EF4-FFF2-40B4-BE49-F238E27FC236}">
                <a16:creationId xmlns:a16="http://schemas.microsoft.com/office/drawing/2014/main" id="{4C632E24-6724-4010-9D44-7387A7EACF70}"/>
              </a:ext>
            </a:extLst>
          </p:cNvPr>
          <p:cNvCxnSpPr>
            <a:cxnSpLocks noChangeShapeType="1"/>
            <a:stCxn id="25" idx="2"/>
          </p:cNvCxnSpPr>
          <p:nvPr/>
        </p:nvCxnSpPr>
        <p:spPr bwMode="auto">
          <a:xfrm>
            <a:off x="4443270" y="2762485"/>
            <a:ext cx="36271" cy="435472"/>
          </a:xfrm>
          <a:prstGeom prst="line">
            <a:avLst/>
          </a:prstGeom>
          <a:noFill/>
          <a:ln w="12700" algn="ctr">
            <a:solidFill>
              <a:schemeClr val="tx2"/>
            </a:solidFill>
            <a:round/>
            <a:headEnd/>
            <a:tailEnd type="oval" w="sm" len="sm"/>
          </a:ln>
          <a:effectLst/>
        </p:spPr>
      </p:cxnSp>
      <p:sp>
        <p:nvSpPr>
          <p:cNvPr id="31" name="Round Diagonal Corner Rectangle 270">
            <a:extLst>
              <a:ext uri="{FF2B5EF4-FFF2-40B4-BE49-F238E27FC236}">
                <a16:creationId xmlns:a16="http://schemas.microsoft.com/office/drawing/2014/main" id="{BAE20D01-7426-4AFF-A56F-0CC26DFBB11E}"/>
              </a:ext>
            </a:extLst>
          </p:cNvPr>
          <p:cNvSpPr/>
          <p:nvPr/>
        </p:nvSpPr>
        <p:spPr bwMode="blackWhite">
          <a:xfrm>
            <a:off x="133012" y="4654013"/>
            <a:ext cx="1800000" cy="360218"/>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highlight>
                <a:srgbClr val="00FF00"/>
              </a:highlight>
              <a:latin typeface="Arial" charset="0"/>
            </a:endParaRPr>
          </a:p>
        </p:txBody>
      </p:sp>
      <p:sp>
        <p:nvSpPr>
          <p:cNvPr id="32" name="TextBox 31">
            <a:extLst>
              <a:ext uri="{FF2B5EF4-FFF2-40B4-BE49-F238E27FC236}">
                <a16:creationId xmlns:a16="http://schemas.microsoft.com/office/drawing/2014/main" id="{910E70C1-B0AB-416B-8FDB-6E7D8EB42E5D}"/>
              </a:ext>
            </a:extLst>
          </p:cNvPr>
          <p:cNvSpPr txBox="1"/>
          <p:nvPr/>
        </p:nvSpPr>
        <p:spPr>
          <a:xfrm>
            <a:off x="1143848" y="4716359"/>
            <a:ext cx="592095" cy="235527"/>
          </a:xfrm>
          <a:prstGeom prst="rect">
            <a:avLst/>
          </a:prstGeom>
          <a:noFill/>
          <a:effectLst/>
        </p:spPr>
        <p:txBody>
          <a:bodyPr lIns="0" tIns="0" rIns="0" bIns="0" anchor="ctr"/>
          <a:lstStyle/>
          <a:p>
            <a:pPr eaLnBrk="1" hangingPunct="1">
              <a:defRPr/>
            </a:pPr>
            <a:r>
              <a:rPr lang="en-GB" sz="800" dirty="0">
                <a:latin typeface="Arial" charset="0"/>
              </a:rPr>
              <a:t>Worldwide</a:t>
            </a:r>
          </a:p>
        </p:txBody>
      </p:sp>
      <p:cxnSp>
        <p:nvCxnSpPr>
          <p:cNvPr id="33" name="Straight Connector 32">
            <a:extLst>
              <a:ext uri="{FF2B5EF4-FFF2-40B4-BE49-F238E27FC236}">
                <a16:creationId xmlns:a16="http://schemas.microsoft.com/office/drawing/2014/main" id="{4F68A07E-B9D2-4821-ADB2-5B9C594A67FA}"/>
              </a:ext>
            </a:extLst>
          </p:cNvPr>
          <p:cNvCxnSpPr/>
          <p:nvPr/>
        </p:nvCxnSpPr>
        <p:spPr bwMode="auto">
          <a:xfrm>
            <a:off x="1033012" y="4708122"/>
            <a:ext cx="0" cy="252000"/>
          </a:xfrm>
          <a:prstGeom prst="line">
            <a:avLst/>
          </a:prstGeom>
          <a:solidFill>
            <a:srgbClr val="FF0000"/>
          </a:solidFill>
          <a:ln w="12700" cap="flat" cmpd="sng" algn="ctr">
            <a:solidFill>
              <a:schemeClr val="tx2"/>
            </a:solidFill>
            <a:prstDash val="solid"/>
            <a:round/>
            <a:headEnd type="none" w="med" len="med"/>
            <a:tailEnd type="none" w="med" len="med"/>
          </a:ln>
          <a:effectLst/>
        </p:spPr>
      </p:cxnSp>
      <p:sp>
        <p:nvSpPr>
          <p:cNvPr id="35" name="Round Diagonal Corner Rectangle 68">
            <a:extLst>
              <a:ext uri="{FF2B5EF4-FFF2-40B4-BE49-F238E27FC236}">
                <a16:creationId xmlns:a16="http://schemas.microsoft.com/office/drawing/2014/main" id="{56A1BED5-62D8-4FD7-BBB2-F7072A3B2934}"/>
              </a:ext>
            </a:extLst>
          </p:cNvPr>
          <p:cNvSpPr/>
          <p:nvPr/>
        </p:nvSpPr>
        <p:spPr bwMode="blackWhite">
          <a:xfrm>
            <a:off x="1398601" y="1144006"/>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36" name="Straight Connector 70">
            <a:extLst>
              <a:ext uri="{FF2B5EF4-FFF2-40B4-BE49-F238E27FC236}">
                <a16:creationId xmlns:a16="http://schemas.microsoft.com/office/drawing/2014/main" id="{BA8A6A4E-4095-4C4F-BE93-69FFCB8BB613}"/>
              </a:ext>
            </a:extLst>
          </p:cNvPr>
          <p:cNvCxnSpPr>
            <a:cxnSpLocks noChangeShapeType="1"/>
            <a:stCxn id="35" idx="2"/>
          </p:cNvCxnSpPr>
          <p:nvPr/>
        </p:nvCxnSpPr>
        <p:spPr bwMode="auto">
          <a:xfrm>
            <a:off x="1722601" y="1432006"/>
            <a:ext cx="45051" cy="554962"/>
          </a:xfrm>
          <a:prstGeom prst="line">
            <a:avLst/>
          </a:prstGeom>
          <a:noFill/>
          <a:ln w="12700" algn="ctr">
            <a:solidFill>
              <a:schemeClr val="tx2"/>
            </a:solidFill>
            <a:round/>
            <a:headEnd type="none" w="sm" len="sm"/>
            <a:tailEnd type="oval" w="sm" len="sm"/>
          </a:ln>
          <a:effectLst/>
        </p:spPr>
      </p:cxnSp>
      <p:cxnSp>
        <p:nvCxnSpPr>
          <p:cNvPr id="37" name="Straight Connector 97">
            <a:extLst>
              <a:ext uri="{FF2B5EF4-FFF2-40B4-BE49-F238E27FC236}">
                <a16:creationId xmlns:a16="http://schemas.microsoft.com/office/drawing/2014/main" id="{99D6CDB4-965B-4DE5-8F36-98DFDB6CE205}"/>
              </a:ext>
            </a:extLst>
          </p:cNvPr>
          <p:cNvCxnSpPr>
            <a:cxnSpLocks/>
            <a:stCxn id="38" idx="1"/>
          </p:cNvCxnSpPr>
          <p:nvPr/>
        </p:nvCxnSpPr>
        <p:spPr bwMode="auto">
          <a:xfrm flipH="1" flipV="1">
            <a:off x="6737261" y="2425526"/>
            <a:ext cx="997290" cy="328119"/>
          </a:xfrm>
          <a:prstGeom prst="line">
            <a:avLst/>
          </a:prstGeom>
          <a:noFill/>
          <a:ln w="12700" algn="ctr">
            <a:solidFill>
              <a:schemeClr val="tx2"/>
            </a:solidFill>
            <a:round/>
            <a:headEnd/>
            <a:tailEnd type="oval" w="sm" len="sm"/>
          </a:ln>
          <a:effectLst/>
        </p:spPr>
      </p:cxnSp>
      <p:sp>
        <p:nvSpPr>
          <p:cNvPr id="38" name="Round Diagonal Corner Rectangle 96">
            <a:extLst>
              <a:ext uri="{FF2B5EF4-FFF2-40B4-BE49-F238E27FC236}">
                <a16:creationId xmlns:a16="http://schemas.microsoft.com/office/drawing/2014/main" id="{B8BB0335-AABD-4CD3-8D9F-20C9ACFED5E5}"/>
              </a:ext>
            </a:extLst>
          </p:cNvPr>
          <p:cNvSpPr/>
          <p:nvPr/>
        </p:nvSpPr>
        <p:spPr bwMode="blackWhite">
          <a:xfrm>
            <a:off x="7734551" y="2609645"/>
            <a:ext cx="648000" cy="288000"/>
          </a:xfrm>
          <a:prstGeom prst="rect">
            <a:avLst/>
          </a:prstGeom>
          <a:noFill/>
          <a:ln w="12700">
            <a:solidFill>
              <a:schemeClr val="tx2"/>
            </a:solidFill>
          </a:ln>
          <a:effectLst/>
        </p:spPr>
        <p:txBody>
          <a:bodyPr lIns="90000" tIns="36000" anchor="ctr"/>
          <a:lstStyle/>
          <a:p>
            <a:pPr algn="ctr" eaLnBrk="1" hangingPunct="1">
              <a:defRPr/>
            </a:pPr>
            <a:endParaRPr lang="en-GB" sz="700" dirty="0">
              <a:solidFill>
                <a:srgbClr val="FF0000"/>
              </a:solidFill>
              <a:latin typeface="Arial" charset="0"/>
            </a:endParaRPr>
          </a:p>
        </p:txBody>
      </p:sp>
      <p:pic>
        <p:nvPicPr>
          <p:cNvPr id="39" name="Picture 4" descr="http://www.elta.tv/images/header/ELTA_logo.jpg">
            <a:extLst>
              <a:ext uri="{FF2B5EF4-FFF2-40B4-BE49-F238E27FC236}">
                <a16:creationId xmlns:a16="http://schemas.microsoft.com/office/drawing/2014/main" id="{A07ED86E-F978-4BF9-A558-9EAB69FC55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54447" y="2666468"/>
            <a:ext cx="416463" cy="1743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443" descr="https://pmcdeadline2.files.wordpress.com/2018/11/motortrend-e1542136057557.jpg?w=300&amp;h=57&amp;crop=1">
            <a:extLst>
              <a:ext uri="{FF2B5EF4-FFF2-40B4-BE49-F238E27FC236}">
                <a16:creationId xmlns:a16="http://schemas.microsoft.com/office/drawing/2014/main" id="{089F28E7-5196-440F-B1F1-134D566D15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4617" y="1191011"/>
            <a:ext cx="463255" cy="877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Round Diagonal Corner Rectangle 113">
            <a:extLst>
              <a:ext uri="{FF2B5EF4-FFF2-40B4-BE49-F238E27FC236}">
                <a16:creationId xmlns:a16="http://schemas.microsoft.com/office/drawing/2014/main" id="{3353CF6F-6A48-4183-A204-82C2CC7EF83D}"/>
              </a:ext>
            </a:extLst>
          </p:cNvPr>
          <p:cNvSpPr/>
          <p:nvPr/>
        </p:nvSpPr>
        <p:spPr bwMode="blackWhite">
          <a:xfrm>
            <a:off x="5479887" y="1357542"/>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61" name="Straight Connector 169">
            <a:extLst>
              <a:ext uri="{FF2B5EF4-FFF2-40B4-BE49-F238E27FC236}">
                <a16:creationId xmlns:a16="http://schemas.microsoft.com/office/drawing/2014/main" id="{7E6A94BC-F34E-48E7-BCCB-6F39123EABC6}"/>
              </a:ext>
            </a:extLst>
          </p:cNvPr>
          <p:cNvCxnSpPr>
            <a:cxnSpLocks noChangeShapeType="1"/>
            <a:stCxn id="60" idx="2"/>
          </p:cNvCxnSpPr>
          <p:nvPr/>
        </p:nvCxnSpPr>
        <p:spPr bwMode="auto">
          <a:xfrm>
            <a:off x="5803887" y="1645542"/>
            <a:ext cx="377194" cy="439648"/>
          </a:xfrm>
          <a:prstGeom prst="line">
            <a:avLst/>
          </a:prstGeom>
          <a:noFill/>
          <a:ln w="12700" algn="ctr">
            <a:solidFill>
              <a:schemeClr val="tx2"/>
            </a:solidFill>
            <a:round/>
            <a:headEnd/>
            <a:tailEnd type="oval" w="sm" len="sm"/>
          </a:ln>
          <a:effectLst/>
        </p:spPr>
      </p:cxnSp>
      <p:pic>
        <p:nvPicPr>
          <p:cNvPr id="70" name="Picture 101">
            <a:extLst>
              <a:ext uri="{FF2B5EF4-FFF2-40B4-BE49-F238E27FC236}">
                <a16:creationId xmlns:a16="http://schemas.microsoft.com/office/drawing/2014/main" id="{E0CA58D2-787C-41D0-BFED-8D71D9A1110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551" t="8424" r="1495" b="16240"/>
          <a:stretch>
            <a:fillRect/>
          </a:stretch>
        </p:blipFill>
        <p:spPr bwMode="auto">
          <a:xfrm>
            <a:off x="1484618" y="1302811"/>
            <a:ext cx="461904" cy="931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Round Diagonal Corner Rectangle 122">
            <a:extLst>
              <a:ext uri="{FF2B5EF4-FFF2-40B4-BE49-F238E27FC236}">
                <a16:creationId xmlns:a16="http://schemas.microsoft.com/office/drawing/2014/main" id="{8677CC25-41AC-4A6F-90A1-D2799226AB76}"/>
              </a:ext>
            </a:extLst>
          </p:cNvPr>
          <p:cNvSpPr/>
          <p:nvPr/>
        </p:nvSpPr>
        <p:spPr bwMode="blackWhite">
          <a:xfrm>
            <a:off x="5654023" y="3588438"/>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rgbClr val="FF0000"/>
              </a:solidFill>
              <a:latin typeface="Arial" charset="0"/>
            </a:endParaRPr>
          </a:p>
        </p:txBody>
      </p:sp>
      <p:cxnSp>
        <p:nvCxnSpPr>
          <p:cNvPr id="72" name="Straight Connector 71">
            <a:extLst>
              <a:ext uri="{FF2B5EF4-FFF2-40B4-BE49-F238E27FC236}">
                <a16:creationId xmlns:a16="http://schemas.microsoft.com/office/drawing/2014/main" id="{16324250-555B-4F3F-9AC1-A20D6DF62ACF}"/>
              </a:ext>
            </a:extLst>
          </p:cNvPr>
          <p:cNvCxnSpPr>
            <a:cxnSpLocks/>
            <a:stCxn id="71" idx="0"/>
          </p:cNvCxnSpPr>
          <p:nvPr/>
        </p:nvCxnSpPr>
        <p:spPr bwMode="auto">
          <a:xfrm flipV="1">
            <a:off x="5978023" y="3191131"/>
            <a:ext cx="476850" cy="397307"/>
          </a:xfrm>
          <a:prstGeom prst="line">
            <a:avLst/>
          </a:prstGeom>
          <a:solidFill>
            <a:srgbClr val="FFFF00"/>
          </a:solidFill>
          <a:ln w="12700" cap="flat" cmpd="sng" algn="ctr">
            <a:solidFill>
              <a:schemeClr val="tx2"/>
            </a:solidFill>
            <a:prstDash val="solid"/>
            <a:round/>
            <a:headEnd type="none" w="med" len="med"/>
            <a:tailEnd type="oval" w="sm" len="sm"/>
          </a:ln>
          <a:effectLst/>
        </p:spPr>
      </p:cxnSp>
      <p:pic>
        <p:nvPicPr>
          <p:cNvPr id="73" name="Picture 484" descr="KUY Entertainment - YouTube">
            <a:extLst>
              <a:ext uri="{FF2B5EF4-FFF2-40B4-BE49-F238E27FC236}">
                <a16:creationId xmlns:a16="http://schemas.microsoft.com/office/drawing/2014/main" id="{014F26DE-5473-4983-89ED-479E9598675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15866" t="21002" r="16211" b="22551"/>
          <a:stretch>
            <a:fillRect/>
          </a:stretch>
        </p:blipFill>
        <p:spPr bwMode="auto">
          <a:xfrm>
            <a:off x="5847848" y="3624488"/>
            <a:ext cx="260350" cy="2159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Round Diagonal Corner Rectangle 80">
            <a:extLst>
              <a:ext uri="{FF2B5EF4-FFF2-40B4-BE49-F238E27FC236}">
                <a16:creationId xmlns:a16="http://schemas.microsoft.com/office/drawing/2014/main" id="{76F7C88C-9A63-4D2C-8DDC-2A5E855EE674}"/>
              </a:ext>
            </a:extLst>
          </p:cNvPr>
          <p:cNvSpPr/>
          <p:nvPr/>
        </p:nvSpPr>
        <p:spPr bwMode="blackWhite">
          <a:xfrm>
            <a:off x="7543429" y="3276093"/>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82" name="Straight Connector 120">
            <a:extLst>
              <a:ext uri="{FF2B5EF4-FFF2-40B4-BE49-F238E27FC236}">
                <a16:creationId xmlns:a16="http://schemas.microsoft.com/office/drawing/2014/main" id="{5E02AEAD-B9FE-4B44-8332-35EEA30055FA}"/>
              </a:ext>
            </a:extLst>
          </p:cNvPr>
          <p:cNvCxnSpPr>
            <a:cxnSpLocks/>
            <a:stCxn id="81" idx="2"/>
          </p:cNvCxnSpPr>
          <p:nvPr/>
        </p:nvCxnSpPr>
        <p:spPr bwMode="auto">
          <a:xfrm flipH="1">
            <a:off x="7855509" y="3564093"/>
            <a:ext cx="11920" cy="455556"/>
          </a:xfrm>
          <a:prstGeom prst="line">
            <a:avLst/>
          </a:prstGeom>
          <a:noFill/>
          <a:ln w="12700" algn="ctr">
            <a:solidFill>
              <a:schemeClr val="tx2"/>
            </a:solidFill>
            <a:round/>
            <a:headEnd/>
            <a:tailEnd type="oval" w="sm" len="sm"/>
          </a:ln>
          <a:effectLst/>
        </p:spPr>
      </p:cxnSp>
      <p:pic>
        <p:nvPicPr>
          <p:cNvPr id="83" name="Picture 50" descr="Sky2013logo.png">
            <a:extLst>
              <a:ext uri="{FF2B5EF4-FFF2-40B4-BE49-F238E27FC236}">
                <a16:creationId xmlns:a16="http://schemas.microsoft.com/office/drawing/2014/main" id="{E79E8B1F-540A-4B46-80E5-85CFCF637CE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91217" y="3307381"/>
            <a:ext cx="352425" cy="2254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 name="Round Diagonal Corner Rectangle 80">
            <a:extLst>
              <a:ext uri="{FF2B5EF4-FFF2-40B4-BE49-F238E27FC236}">
                <a16:creationId xmlns:a16="http://schemas.microsoft.com/office/drawing/2014/main" id="{471BF715-55F9-4312-9EE9-3CF8D868321F}"/>
              </a:ext>
            </a:extLst>
          </p:cNvPr>
          <p:cNvSpPr/>
          <p:nvPr/>
        </p:nvSpPr>
        <p:spPr bwMode="blackWhite">
          <a:xfrm>
            <a:off x="5562032" y="2456719"/>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95" name="Straight Connector 140">
            <a:extLst>
              <a:ext uri="{FF2B5EF4-FFF2-40B4-BE49-F238E27FC236}">
                <a16:creationId xmlns:a16="http://schemas.microsoft.com/office/drawing/2014/main" id="{F11B8312-D5CD-43DB-8596-219407957E65}"/>
              </a:ext>
            </a:extLst>
          </p:cNvPr>
          <p:cNvCxnSpPr>
            <a:cxnSpLocks/>
            <a:stCxn id="94" idx="1"/>
          </p:cNvCxnSpPr>
          <p:nvPr/>
        </p:nvCxnSpPr>
        <p:spPr bwMode="auto">
          <a:xfrm flipH="1" flipV="1">
            <a:off x="4928307" y="2123057"/>
            <a:ext cx="633725" cy="477662"/>
          </a:xfrm>
          <a:prstGeom prst="line">
            <a:avLst/>
          </a:prstGeom>
          <a:noFill/>
          <a:ln w="12700" algn="ctr">
            <a:solidFill>
              <a:schemeClr val="tx2"/>
            </a:solidFill>
            <a:round/>
            <a:headEnd/>
            <a:tailEnd type="oval" w="sm" len="sm"/>
          </a:ln>
          <a:effectLst/>
        </p:spPr>
      </p:cxnSp>
      <p:pic>
        <p:nvPicPr>
          <p:cNvPr id="149" name="Picture 148">
            <a:extLst>
              <a:ext uri="{FF2B5EF4-FFF2-40B4-BE49-F238E27FC236}">
                <a16:creationId xmlns:a16="http://schemas.microsoft.com/office/drawing/2014/main" id="{CC7A1865-EAE4-437B-9BBB-0719552EDE6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12930" y="1467730"/>
            <a:ext cx="581914" cy="67625"/>
          </a:xfrm>
          <a:prstGeom prst="rect">
            <a:avLst/>
          </a:prstGeom>
        </p:spPr>
      </p:pic>
      <p:pic>
        <p:nvPicPr>
          <p:cNvPr id="59" name="Picture 58">
            <a:extLst>
              <a:ext uri="{FF2B5EF4-FFF2-40B4-BE49-F238E27FC236}">
                <a16:creationId xmlns:a16="http://schemas.microsoft.com/office/drawing/2014/main" id="{3F591E8C-811F-477D-AB51-1F33C4D58008}"/>
              </a:ext>
            </a:extLst>
          </p:cNvPr>
          <p:cNvPicPr>
            <a:picLocks noChangeAspect="1"/>
          </p:cNvPicPr>
          <p:nvPr/>
        </p:nvPicPr>
        <p:blipFill rotWithShape="1">
          <a:blip r:embed="rId10"/>
          <a:srcRect l="8386" t="-5328" r="7821" b="-7656"/>
          <a:stretch/>
        </p:blipFill>
        <p:spPr>
          <a:xfrm>
            <a:off x="3603400" y="1183598"/>
            <a:ext cx="959038" cy="955155"/>
          </a:xfrm>
          <a:prstGeom prst="ellipse">
            <a:avLst/>
          </a:prstGeom>
          <a:solidFill>
            <a:schemeClr val="bg1"/>
          </a:solidFill>
          <a:ln w="19050">
            <a:solidFill>
              <a:schemeClr val="tx2"/>
            </a:solidFill>
          </a:ln>
        </p:spPr>
      </p:pic>
      <p:pic>
        <p:nvPicPr>
          <p:cNvPr id="245" name="Picture 30">
            <a:extLst>
              <a:ext uri="{FF2B5EF4-FFF2-40B4-BE49-F238E27FC236}">
                <a16:creationId xmlns:a16="http://schemas.microsoft.com/office/drawing/2014/main" id="{CF159AA7-A3A6-4B1A-A6C2-9E2EEA67145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4076" y="4772816"/>
            <a:ext cx="815782" cy="111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7" name="Round Diagonal Corner Rectangle 74">
            <a:extLst>
              <a:ext uri="{FF2B5EF4-FFF2-40B4-BE49-F238E27FC236}">
                <a16:creationId xmlns:a16="http://schemas.microsoft.com/office/drawing/2014/main" id="{003B0C2F-2EDA-416E-9993-65CEA9CB0068}"/>
              </a:ext>
            </a:extLst>
          </p:cNvPr>
          <p:cNvSpPr/>
          <p:nvPr/>
        </p:nvSpPr>
        <p:spPr bwMode="blackWhite">
          <a:xfrm>
            <a:off x="526523" y="2374689"/>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00FF"/>
              </a:highlight>
              <a:latin typeface="Arial" charset="0"/>
            </a:endParaRPr>
          </a:p>
        </p:txBody>
      </p:sp>
      <p:cxnSp>
        <p:nvCxnSpPr>
          <p:cNvPr id="248" name="Straight Connector 76">
            <a:extLst>
              <a:ext uri="{FF2B5EF4-FFF2-40B4-BE49-F238E27FC236}">
                <a16:creationId xmlns:a16="http://schemas.microsoft.com/office/drawing/2014/main" id="{345645B1-D5EF-4C4C-B5BE-3B533E55E054}"/>
              </a:ext>
            </a:extLst>
          </p:cNvPr>
          <p:cNvCxnSpPr>
            <a:cxnSpLocks/>
            <a:stCxn id="247" idx="3"/>
          </p:cNvCxnSpPr>
          <p:nvPr/>
        </p:nvCxnSpPr>
        <p:spPr bwMode="auto">
          <a:xfrm>
            <a:off x="1174523" y="2518689"/>
            <a:ext cx="393261" cy="0"/>
          </a:xfrm>
          <a:prstGeom prst="line">
            <a:avLst/>
          </a:prstGeom>
          <a:noFill/>
          <a:ln w="12700" algn="ctr">
            <a:solidFill>
              <a:schemeClr val="tx2"/>
            </a:solidFill>
            <a:round/>
            <a:headEnd/>
            <a:tailEnd type="oval" w="sm" len="sm"/>
          </a:ln>
          <a:effectLst/>
        </p:spPr>
      </p:cxnSp>
      <p:pic>
        <p:nvPicPr>
          <p:cNvPr id="254" name="Picture 623" descr="Saudi Sports Company - Wikipedia">
            <a:extLst>
              <a:ext uri="{FF2B5EF4-FFF2-40B4-BE49-F238E27FC236}">
                <a16:creationId xmlns:a16="http://schemas.microsoft.com/office/drawing/2014/main" id="{B7AB051A-4C90-4865-997D-A2569149CDD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34164" b="31031"/>
          <a:stretch/>
        </p:blipFill>
        <p:spPr bwMode="auto">
          <a:xfrm>
            <a:off x="5667388" y="2528038"/>
            <a:ext cx="436418" cy="138535"/>
          </a:xfrm>
          <a:prstGeom prst="rect">
            <a:avLst/>
          </a:prstGeom>
          <a:noFill/>
          <a:extLst>
            <a:ext uri="{909E8E84-426E-40DD-AFC4-6F175D3DCCD1}">
              <a14:hiddenFill xmlns:a14="http://schemas.microsoft.com/office/drawing/2010/main">
                <a:solidFill>
                  <a:srgbClr val="FFFFFF"/>
                </a:solidFill>
              </a14:hiddenFill>
            </a:ext>
          </a:extLst>
        </p:spPr>
      </p:pic>
      <p:sp>
        <p:nvSpPr>
          <p:cNvPr id="255" name="Round Diagonal Corner Rectangle 80">
            <a:extLst>
              <a:ext uri="{FF2B5EF4-FFF2-40B4-BE49-F238E27FC236}">
                <a16:creationId xmlns:a16="http://schemas.microsoft.com/office/drawing/2014/main" id="{8F7FFBDE-F8A5-46D0-A2D3-00C1B532D274}"/>
              </a:ext>
            </a:extLst>
          </p:cNvPr>
          <p:cNvSpPr/>
          <p:nvPr/>
        </p:nvSpPr>
        <p:spPr bwMode="blackWhite">
          <a:xfrm>
            <a:off x="6674544" y="4430250"/>
            <a:ext cx="648000" cy="288000"/>
          </a:xfrm>
          <a:prstGeom prst="rect">
            <a:avLst/>
          </a:prstGeom>
          <a:no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256" name="Straight Connector 140">
            <a:extLst>
              <a:ext uri="{FF2B5EF4-FFF2-40B4-BE49-F238E27FC236}">
                <a16:creationId xmlns:a16="http://schemas.microsoft.com/office/drawing/2014/main" id="{9B384789-893B-4CA7-B08B-2F4757BD603B}"/>
              </a:ext>
            </a:extLst>
          </p:cNvPr>
          <p:cNvCxnSpPr>
            <a:cxnSpLocks/>
            <a:stCxn id="255" idx="0"/>
          </p:cNvCxnSpPr>
          <p:nvPr/>
        </p:nvCxnSpPr>
        <p:spPr bwMode="auto">
          <a:xfrm flipH="1" flipV="1">
            <a:off x="6977330" y="3564094"/>
            <a:ext cx="21214" cy="866156"/>
          </a:xfrm>
          <a:prstGeom prst="line">
            <a:avLst/>
          </a:prstGeom>
          <a:noFill/>
          <a:ln w="12700" algn="ctr">
            <a:solidFill>
              <a:schemeClr val="tx2"/>
            </a:solidFill>
            <a:round/>
            <a:headEnd/>
            <a:tailEnd type="oval" w="sm" len="sm"/>
          </a:ln>
          <a:effectLst/>
        </p:spPr>
      </p:cxnSp>
      <p:pic>
        <p:nvPicPr>
          <p:cNvPr id="259" name="Picture 258">
            <a:extLst>
              <a:ext uri="{FF2B5EF4-FFF2-40B4-BE49-F238E27FC236}">
                <a16:creationId xmlns:a16="http://schemas.microsoft.com/office/drawing/2014/main" id="{787583C6-4362-4A56-BA9C-3CAA36CF2CF0}"/>
              </a:ext>
            </a:extLst>
          </p:cNvPr>
          <p:cNvPicPr>
            <a:picLocks noChangeAspect="1"/>
          </p:cNvPicPr>
          <p:nvPr/>
        </p:nvPicPr>
        <p:blipFill>
          <a:blip r:embed="rId13"/>
          <a:stretch>
            <a:fillRect/>
          </a:stretch>
        </p:blipFill>
        <p:spPr>
          <a:xfrm>
            <a:off x="6701582" y="4490944"/>
            <a:ext cx="296200" cy="166612"/>
          </a:xfrm>
          <a:prstGeom prst="rect">
            <a:avLst/>
          </a:prstGeom>
        </p:spPr>
      </p:pic>
      <p:sp>
        <p:nvSpPr>
          <p:cNvPr id="233" name="Round Diagonal Corner Rectangle 152">
            <a:extLst>
              <a:ext uri="{FF2B5EF4-FFF2-40B4-BE49-F238E27FC236}">
                <a16:creationId xmlns:a16="http://schemas.microsoft.com/office/drawing/2014/main" id="{BA6D2734-BC42-48D4-ACD4-D116ADE4ADE5}"/>
              </a:ext>
            </a:extLst>
          </p:cNvPr>
          <p:cNvSpPr/>
          <p:nvPr/>
        </p:nvSpPr>
        <p:spPr bwMode="blackWhite">
          <a:xfrm>
            <a:off x="133012" y="4208915"/>
            <a:ext cx="1800000" cy="360000"/>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highlight>
                <a:srgbClr val="00FF00"/>
              </a:highlight>
              <a:latin typeface="Arial" charset="0"/>
            </a:endParaRPr>
          </a:p>
        </p:txBody>
      </p:sp>
      <p:sp>
        <p:nvSpPr>
          <p:cNvPr id="234" name="TextBox 154">
            <a:extLst>
              <a:ext uri="{FF2B5EF4-FFF2-40B4-BE49-F238E27FC236}">
                <a16:creationId xmlns:a16="http://schemas.microsoft.com/office/drawing/2014/main" id="{02E15BFC-7B6F-401F-B065-9D8AAE0DEAAF}"/>
              </a:ext>
            </a:extLst>
          </p:cNvPr>
          <p:cNvSpPr txBox="1">
            <a:spLocks noChangeArrowheads="1"/>
          </p:cNvSpPr>
          <p:nvPr/>
        </p:nvSpPr>
        <p:spPr bwMode="auto">
          <a:xfrm>
            <a:off x="1120518" y="4280815"/>
            <a:ext cx="793519" cy="216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r>
              <a:rPr lang="en-GB" altLang="en-US" sz="800" dirty="0"/>
              <a:t>Pan-Europe; Pan-Asia-Pacific</a:t>
            </a:r>
          </a:p>
        </p:txBody>
      </p:sp>
      <p:cxnSp>
        <p:nvCxnSpPr>
          <p:cNvPr id="235" name="Straight Connector 159">
            <a:extLst>
              <a:ext uri="{FF2B5EF4-FFF2-40B4-BE49-F238E27FC236}">
                <a16:creationId xmlns:a16="http://schemas.microsoft.com/office/drawing/2014/main" id="{1017B52F-A7E8-4E99-A02A-FAF68114F8D6}"/>
              </a:ext>
            </a:extLst>
          </p:cNvPr>
          <p:cNvCxnSpPr>
            <a:cxnSpLocks noChangeShapeType="1"/>
          </p:cNvCxnSpPr>
          <p:nvPr/>
        </p:nvCxnSpPr>
        <p:spPr bwMode="auto">
          <a:xfrm>
            <a:off x="1033012" y="4262915"/>
            <a:ext cx="0" cy="252000"/>
          </a:xfrm>
          <a:prstGeom prst="line">
            <a:avLst/>
          </a:prstGeom>
          <a:noFill/>
          <a:ln w="12700" algn="ctr">
            <a:solidFill>
              <a:schemeClr val="tx2"/>
            </a:solidFill>
            <a:round/>
            <a:headEnd/>
            <a:tailEnd/>
          </a:ln>
          <a:effectLst/>
        </p:spPr>
      </p:cxnSp>
      <p:pic>
        <p:nvPicPr>
          <p:cNvPr id="236" name="Picture 235">
            <a:extLst>
              <a:ext uri="{FF2B5EF4-FFF2-40B4-BE49-F238E27FC236}">
                <a16:creationId xmlns:a16="http://schemas.microsoft.com/office/drawing/2014/main" id="{0C0BDEFE-A1F5-4C20-ADDE-22B1D5E1FEA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1172" y="4345666"/>
            <a:ext cx="744324" cy="86499"/>
          </a:xfrm>
          <a:prstGeom prst="rect">
            <a:avLst/>
          </a:prstGeom>
        </p:spPr>
      </p:pic>
      <p:sp>
        <p:nvSpPr>
          <p:cNvPr id="244" name="Round Diagonal Corner Rectangle 80">
            <a:extLst>
              <a:ext uri="{FF2B5EF4-FFF2-40B4-BE49-F238E27FC236}">
                <a16:creationId xmlns:a16="http://schemas.microsoft.com/office/drawing/2014/main" id="{1656758B-5C3D-4E55-81CA-A1CB6F4E8A92}"/>
              </a:ext>
            </a:extLst>
          </p:cNvPr>
          <p:cNvSpPr/>
          <p:nvPr/>
        </p:nvSpPr>
        <p:spPr bwMode="blackWhite">
          <a:xfrm>
            <a:off x="7719642" y="2268377"/>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FF00"/>
              </a:highlight>
              <a:latin typeface="Arial" charset="0"/>
            </a:endParaRPr>
          </a:p>
        </p:txBody>
      </p:sp>
      <p:cxnSp>
        <p:nvCxnSpPr>
          <p:cNvPr id="250" name="Straight Connector 82">
            <a:extLst>
              <a:ext uri="{FF2B5EF4-FFF2-40B4-BE49-F238E27FC236}">
                <a16:creationId xmlns:a16="http://schemas.microsoft.com/office/drawing/2014/main" id="{63F47310-2A87-4E25-9151-474DD1BB2FD2}"/>
              </a:ext>
            </a:extLst>
          </p:cNvPr>
          <p:cNvCxnSpPr>
            <a:cxnSpLocks/>
            <a:stCxn id="244" idx="1"/>
          </p:cNvCxnSpPr>
          <p:nvPr/>
        </p:nvCxnSpPr>
        <p:spPr bwMode="auto">
          <a:xfrm flipH="1" flipV="1">
            <a:off x="6507375" y="2325520"/>
            <a:ext cx="1212267" cy="86857"/>
          </a:xfrm>
          <a:prstGeom prst="line">
            <a:avLst/>
          </a:prstGeom>
          <a:noFill/>
          <a:ln w="12700" algn="ctr">
            <a:solidFill>
              <a:schemeClr val="tx2"/>
            </a:solidFill>
            <a:round/>
            <a:headEnd/>
            <a:tailEnd type="oval" w="sm" len="sm"/>
          </a:ln>
          <a:effectLst/>
        </p:spPr>
      </p:cxnSp>
      <p:pic>
        <p:nvPicPr>
          <p:cNvPr id="251" name="Picture 2" descr="DOUYIN: The new Chinese propaganda machine – Mass Media and Culture">
            <a:extLst>
              <a:ext uri="{FF2B5EF4-FFF2-40B4-BE49-F238E27FC236}">
                <a16:creationId xmlns:a16="http://schemas.microsoft.com/office/drawing/2014/main" id="{DE0A593F-129D-4F9E-B9E6-D9C9B0D3DD1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3243" t="32722" r="12581" b="32398"/>
          <a:stretch/>
        </p:blipFill>
        <p:spPr bwMode="auto">
          <a:xfrm>
            <a:off x="7826601" y="2302442"/>
            <a:ext cx="459575" cy="216107"/>
          </a:xfrm>
          <a:prstGeom prst="rect">
            <a:avLst/>
          </a:prstGeom>
          <a:noFill/>
          <a:extLst>
            <a:ext uri="{909E8E84-426E-40DD-AFC4-6F175D3DCCD1}">
              <a14:hiddenFill xmlns:a14="http://schemas.microsoft.com/office/drawing/2010/main">
                <a:solidFill>
                  <a:srgbClr val="FFFFFF"/>
                </a:solidFill>
              </a14:hiddenFill>
            </a:ext>
          </a:extLst>
        </p:spPr>
      </p:pic>
      <p:sp>
        <p:nvSpPr>
          <p:cNvPr id="257" name="Round Diagonal Corner Rectangle 68">
            <a:extLst>
              <a:ext uri="{FF2B5EF4-FFF2-40B4-BE49-F238E27FC236}">
                <a16:creationId xmlns:a16="http://schemas.microsoft.com/office/drawing/2014/main" id="{1D40B3EA-5563-4CBB-A0E8-E443BE5F2BDB}"/>
              </a:ext>
            </a:extLst>
          </p:cNvPr>
          <p:cNvSpPr/>
          <p:nvPr/>
        </p:nvSpPr>
        <p:spPr bwMode="blackWhite">
          <a:xfrm>
            <a:off x="339383" y="1832447"/>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261" name="Straight Connector 70">
            <a:extLst>
              <a:ext uri="{FF2B5EF4-FFF2-40B4-BE49-F238E27FC236}">
                <a16:creationId xmlns:a16="http://schemas.microsoft.com/office/drawing/2014/main" id="{35850DC7-2E5D-4D4D-A5DA-EF9BC554EA3F}"/>
              </a:ext>
            </a:extLst>
          </p:cNvPr>
          <p:cNvCxnSpPr>
            <a:cxnSpLocks/>
            <a:stCxn id="257" idx="3"/>
          </p:cNvCxnSpPr>
          <p:nvPr/>
        </p:nvCxnSpPr>
        <p:spPr bwMode="auto">
          <a:xfrm flipV="1">
            <a:off x="987383" y="1715890"/>
            <a:ext cx="650559" cy="260557"/>
          </a:xfrm>
          <a:prstGeom prst="line">
            <a:avLst/>
          </a:prstGeom>
          <a:noFill/>
          <a:ln w="12700" algn="ctr">
            <a:solidFill>
              <a:schemeClr val="tx2"/>
            </a:solidFill>
            <a:round/>
            <a:headEnd type="none" w="sm" len="sm"/>
            <a:tailEnd type="oval" w="sm" len="sm"/>
          </a:ln>
          <a:effectLst/>
        </p:spPr>
      </p:cxnSp>
      <p:pic>
        <p:nvPicPr>
          <p:cNvPr id="262" name="Picture 2" descr="Discovery Velocity - Wikipedia">
            <a:extLst>
              <a:ext uri="{FF2B5EF4-FFF2-40B4-BE49-F238E27FC236}">
                <a16:creationId xmlns:a16="http://schemas.microsoft.com/office/drawing/2014/main" id="{217E3748-0DB8-4BCB-9E0F-427EC88E49A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2263" y="1863584"/>
            <a:ext cx="389250" cy="232787"/>
          </a:xfrm>
          <a:prstGeom prst="rect">
            <a:avLst/>
          </a:prstGeom>
          <a:noFill/>
          <a:extLst>
            <a:ext uri="{909E8E84-426E-40DD-AFC4-6F175D3DCCD1}">
              <a14:hiddenFill xmlns:a14="http://schemas.microsoft.com/office/drawing/2010/main">
                <a:solidFill>
                  <a:srgbClr val="FFFFFF"/>
                </a:solidFill>
              </a14:hiddenFill>
            </a:ext>
          </a:extLst>
        </p:spPr>
      </p:pic>
      <p:pic>
        <p:nvPicPr>
          <p:cNvPr id="263" name="Picture 2" descr="Nine Network - Wikipedia">
            <a:extLst>
              <a:ext uri="{FF2B5EF4-FFF2-40B4-BE49-F238E27FC236}">
                <a16:creationId xmlns:a16="http://schemas.microsoft.com/office/drawing/2014/main" id="{C8424171-188E-4A4E-BA42-5EEEDD0D2E0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025721" y="4519583"/>
            <a:ext cx="232105" cy="1094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864ADBFA-77FE-04F9-EA71-6B30B1EC9C17}"/>
              </a:ext>
            </a:extLst>
          </p:cNvPr>
          <p:cNvPicPr>
            <a:picLocks noChangeAspect="1"/>
          </p:cNvPicPr>
          <p:nvPr/>
        </p:nvPicPr>
        <p:blipFill>
          <a:blip r:embed="rId17" r:link="rId18" cstate="print">
            <a:extLst>
              <a:ext uri="{28A0092B-C50C-407E-A947-70E740481C1C}">
                <a14:useLocalDpi xmlns:a14="http://schemas.microsoft.com/office/drawing/2010/main" val="0"/>
              </a:ext>
            </a:extLst>
          </a:blip>
          <a:srcRect/>
          <a:stretch>
            <a:fillRect/>
          </a:stretch>
        </p:blipFill>
        <p:spPr bwMode="auto">
          <a:xfrm>
            <a:off x="2336697" y="2728797"/>
            <a:ext cx="457758" cy="193207"/>
          </a:xfrm>
          <a:prstGeom prst="rect">
            <a:avLst/>
          </a:prstGeom>
          <a:noFill/>
          <a:ln>
            <a:noFill/>
          </a:ln>
        </p:spPr>
      </p:pic>
      <p:pic>
        <p:nvPicPr>
          <p:cNvPr id="9" name="Picture 8">
            <a:extLst>
              <a:ext uri="{FF2B5EF4-FFF2-40B4-BE49-F238E27FC236}">
                <a16:creationId xmlns:a16="http://schemas.microsoft.com/office/drawing/2014/main" id="{B63E1C6E-5457-190F-7535-A79401AA6506}"/>
              </a:ext>
            </a:extLst>
          </p:cNvPr>
          <p:cNvPicPr>
            <a:picLocks noChangeAspect="1"/>
          </p:cNvPicPr>
          <p:nvPr/>
        </p:nvPicPr>
        <p:blipFill>
          <a:blip r:embed="rId19" r:link="rId20" cstate="print">
            <a:extLst>
              <a:ext uri="{28A0092B-C50C-407E-A947-70E740481C1C}">
                <a14:useLocalDpi xmlns:a14="http://schemas.microsoft.com/office/drawing/2010/main" val="0"/>
              </a:ext>
            </a:extLst>
          </a:blip>
          <a:srcRect/>
          <a:stretch>
            <a:fillRect/>
          </a:stretch>
        </p:blipFill>
        <p:spPr bwMode="auto">
          <a:xfrm>
            <a:off x="447218" y="2295561"/>
            <a:ext cx="823498" cy="463257"/>
          </a:xfrm>
          <a:prstGeom prst="rect">
            <a:avLst/>
          </a:prstGeom>
          <a:noFill/>
          <a:ln>
            <a:noFill/>
          </a:ln>
        </p:spPr>
      </p:pic>
    </p:spTree>
    <p:extLst>
      <p:ext uri="{BB962C8B-B14F-4D97-AF65-F5344CB8AC3E}">
        <p14:creationId xmlns:p14="http://schemas.microsoft.com/office/powerpoint/2010/main" val="2427536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4" name="Group 283">
            <a:extLst>
              <a:ext uri="{FF2B5EF4-FFF2-40B4-BE49-F238E27FC236}">
                <a16:creationId xmlns:a16="http://schemas.microsoft.com/office/drawing/2014/main" id="{9A466A55-1507-4956-A59E-3C2D48D0F6A5}"/>
              </a:ext>
            </a:extLst>
          </p:cNvPr>
          <p:cNvGrpSpPr/>
          <p:nvPr/>
        </p:nvGrpSpPr>
        <p:grpSpPr>
          <a:xfrm>
            <a:off x="1329078" y="662921"/>
            <a:ext cx="5908337" cy="4358115"/>
            <a:chOff x="1331640" y="661907"/>
            <a:chExt cx="5908337" cy="4358115"/>
          </a:xfrm>
        </p:grpSpPr>
        <p:sp>
          <p:nvSpPr>
            <p:cNvPr id="285" name="Freeform 6">
              <a:extLst>
                <a:ext uri="{FF2B5EF4-FFF2-40B4-BE49-F238E27FC236}">
                  <a16:creationId xmlns:a16="http://schemas.microsoft.com/office/drawing/2014/main" id="{E557E11E-14E7-49FA-A03F-11E4D32A9D51}"/>
                </a:ext>
              </a:extLst>
            </p:cNvPr>
            <p:cNvSpPr>
              <a:spLocks/>
            </p:cNvSpPr>
            <p:nvPr/>
          </p:nvSpPr>
          <p:spPr bwMode="auto">
            <a:xfrm>
              <a:off x="4677386" y="4824988"/>
              <a:ext cx="81432" cy="78416"/>
            </a:xfrm>
            <a:custGeom>
              <a:avLst/>
              <a:gdLst>
                <a:gd name="T0" fmla="*/ 23 w 34"/>
                <a:gd name="T1" fmla="*/ 33 h 33"/>
                <a:gd name="T2" fmla="*/ 8 w 34"/>
                <a:gd name="T3" fmla="*/ 14 h 33"/>
                <a:gd name="T4" fmla="*/ 23 w 34"/>
                <a:gd name="T5" fmla="*/ 33 h 33"/>
              </a:gdLst>
              <a:ahLst/>
              <a:cxnLst>
                <a:cxn ang="0">
                  <a:pos x="T0" y="T1"/>
                </a:cxn>
                <a:cxn ang="0">
                  <a:pos x="T2" y="T3"/>
                </a:cxn>
                <a:cxn ang="0">
                  <a:pos x="T4" y="T5"/>
                </a:cxn>
              </a:cxnLst>
              <a:rect l="0" t="0" r="r" b="b"/>
              <a:pathLst>
                <a:path w="34" h="33">
                  <a:moveTo>
                    <a:pt x="23" y="33"/>
                  </a:moveTo>
                  <a:cubicBezTo>
                    <a:pt x="34" y="20"/>
                    <a:pt x="16" y="0"/>
                    <a:pt x="8" y="14"/>
                  </a:cubicBezTo>
                  <a:cubicBezTo>
                    <a:pt x="0" y="28"/>
                    <a:pt x="23" y="33"/>
                    <a:pt x="23" y="33"/>
                  </a:cubicBezTo>
                  <a:close/>
                </a:path>
              </a:pathLst>
            </a:custGeom>
            <a:solidFill>
              <a:srgbClr val="E6E6E6"/>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6" name="Freeform 7">
              <a:extLst>
                <a:ext uri="{FF2B5EF4-FFF2-40B4-BE49-F238E27FC236}">
                  <a16:creationId xmlns:a16="http://schemas.microsoft.com/office/drawing/2014/main" id="{3787960A-5E0A-4C51-81B6-846ED1DCCD2A}"/>
                </a:ext>
              </a:extLst>
            </p:cNvPr>
            <p:cNvSpPr>
              <a:spLocks/>
            </p:cNvSpPr>
            <p:nvPr/>
          </p:nvSpPr>
          <p:spPr bwMode="auto">
            <a:xfrm>
              <a:off x="1331640" y="1162563"/>
              <a:ext cx="939986" cy="360915"/>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7" name="Freeform 8">
              <a:extLst>
                <a:ext uri="{FF2B5EF4-FFF2-40B4-BE49-F238E27FC236}">
                  <a16:creationId xmlns:a16="http://schemas.microsoft.com/office/drawing/2014/main" id="{931E75B1-0472-4723-954D-859D5B9E3B40}"/>
                </a:ext>
              </a:extLst>
            </p:cNvPr>
            <p:cNvSpPr>
              <a:spLocks noEditPoints="1"/>
            </p:cNvSpPr>
            <p:nvPr/>
          </p:nvSpPr>
          <p:spPr bwMode="auto">
            <a:xfrm>
              <a:off x="5320798" y="4148399"/>
              <a:ext cx="867602" cy="871623"/>
            </a:xfrm>
            <a:custGeom>
              <a:avLst/>
              <a:gdLst>
                <a:gd name="T0" fmla="*/ 190 w 365"/>
                <a:gd name="T1" fmla="*/ 78 h 367"/>
                <a:gd name="T2" fmla="*/ 5 w 365"/>
                <a:gd name="T3" fmla="*/ 188 h 367"/>
                <a:gd name="T4" fmla="*/ 212 w 365"/>
                <a:gd name="T5" fmla="*/ 277 h 367"/>
                <a:gd name="T6" fmla="*/ 210 w 365"/>
                <a:gd name="T7" fmla="*/ 258 h 367"/>
                <a:gd name="T8" fmla="*/ 210 w 365"/>
                <a:gd name="T9" fmla="*/ 258 h 367"/>
                <a:gd name="T10" fmla="*/ 223 w 365"/>
                <a:gd name="T11" fmla="*/ 213 h 367"/>
                <a:gd name="T12" fmla="*/ 97 w 365"/>
                <a:gd name="T13" fmla="*/ 176 h 367"/>
                <a:gd name="T14" fmla="*/ 166 w 365"/>
                <a:gd name="T15" fmla="*/ 188 h 367"/>
                <a:gd name="T16" fmla="*/ 128 w 365"/>
                <a:gd name="T17" fmla="*/ 152 h 367"/>
                <a:gd name="T18" fmla="*/ 153 w 365"/>
                <a:gd name="T19" fmla="*/ 156 h 367"/>
                <a:gd name="T20" fmla="*/ 107 w 365"/>
                <a:gd name="T21" fmla="*/ 94 h 367"/>
                <a:gd name="T22" fmla="*/ 129 w 365"/>
                <a:gd name="T23" fmla="*/ 78 h 367"/>
                <a:gd name="T24" fmla="*/ 140 w 365"/>
                <a:gd name="T25" fmla="*/ 79 h 367"/>
                <a:gd name="T26" fmla="*/ 152 w 365"/>
                <a:gd name="T27" fmla="*/ 77 h 367"/>
                <a:gd name="T28" fmla="*/ 182 w 365"/>
                <a:gd name="T29" fmla="*/ 49 h 367"/>
                <a:gd name="T30" fmla="*/ 258 w 365"/>
                <a:gd name="T31" fmla="*/ 52 h 367"/>
                <a:gd name="T32" fmla="*/ 275 w 365"/>
                <a:gd name="T33" fmla="*/ 22 h 367"/>
                <a:gd name="T34" fmla="*/ 261 w 365"/>
                <a:gd name="T35" fmla="*/ 0 h 367"/>
                <a:gd name="T36" fmla="*/ 237 w 365"/>
                <a:gd name="T37" fmla="*/ 25 h 367"/>
                <a:gd name="T38" fmla="*/ 205 w 365"/>
                <a:gd name="T39" fmla="*/ 17 h 367"/>
                <a:gd name="T40" fmla="*/ 161 w 365"/>
                <a:gd name="T41" fmla="*/ 9 h 367"/>
                <a:gd name="T42" fmla="*/ 123 w 365"/>
                <a:gd name="T43" fmla="*/ 25 h 367"/>
                <a:gd name="T44" fmla="*/ 70 w 365"/>
                <a:gd name="T45" fmla="*/ 36 h 367"/>
                <a:gd name="T46" fmla="*/ 38 w 365"/>
                <a:gd name="T47" fmla="*/ 50 h 367"/>
                <a:gd name="T48" fmla="*/ 21 w 365"/>
                <a:gd name="T49" fmla="*/ 84 h 367"/>
                <a:gd name="T50" fmla="*/ 3 w 365"/>
                <a:gd name="T51" fmla="*/ 109 h 367"/>
                <a:gd name="T52" fmla="*/ 29 w 365"/>
                <a:gd name="T53" fmla="*/ 156 h 367"/>
                <a:gd name="T54" fmla="*/ 266 w 365"/>
                <a:gd name="T55" fmla="*/ 168 h 367"/>
                <a:gd name="T56" fmla="*/ 261 w 365"/>
                <a:gd name="T57" fmla="*/ 196 h 367"/>
                <a:gd name="T58" fmla="*/ 30 w 365"/>
                <a:gd name="T59" fmla="*/ 220 h 367"/>
                <a:gd name="T60" fmla="*/ 255 w 365"/>
                <a:gd name="T61" fmla="*/ 270 h 367"/>
                <a:gd name="T62" fmla="*/ 275 w 365"/>
                <a:gd name="T63" fmla="*/ 220 h 367"/>
                <a:gd name="T64" fmla="*/ 269 w 365"/>
                <a:gd name="T65" fmla="*/ 127 h 367"/>
                <a:gd name="T66" fmla="*/ 278 w 365"/>
                <a:gd name="T67" fmla="*/ 148 h 367"/>
                <a:gd name="T68" fmla="*/ 247 w 365"/>
                <a:gd name="T69" fmla="*/ 254 h 367"/>
                <a:gd name="T70" fmla="*/ 291 w 365"/>
                <a:gd name="T71" fmla="*/ 220 h 367"/>
                <a:gd name="T72" fmla="*/ 307 w 365"/>
                <a:gd name="T73" fmla="*/ 236 h 367"/>
                <a:gd name="T74" fmla="*/ 186 w 365"/>
                <a:gd name="T75" fmla="*/ 146 h 367"/>
                <a:gd name="T76" fmla="*/ 361 w 365"/>
                <a:gd name="T77" fmla="*/ 281 h 367"/>
                <a:gd name="T78" fmla="*/ 310 w 365"/>
                <a:gd name="T79" fmla="*/ 258 h 367"/>
                <a:gd name="T80" fmla="*/ 326 w 365"/>
                <a:gd name="T81" fmla="*/ 249 h 367"/>
                <a:gd name="T82" fmla="*/ 324 w 365"/>
                <a:gd name="T83" fmla="*/ 339 h 367"/>
                <a:gd name="T84" fmla="*/ 186 w 365"/>
                <a:gd name="T85" fmla="*/ 221 h 367"/>
                <a:gd name="T86" fmla="*/ 127 w 365"/>
                <a:gd name="T87" fmla="*/ 288 h 367"/>
                <a:gd name="T88" fmla="*/ 259 w 365"/>
                <a:gd name="T89" fmla="*/ 352 h 367"/>
                <a:gd name="T90" fmla="*/ 209 w 365"/>
                <a:gd name="T91" fmla="*/ 336 h 367"/>
                <a:gd name="T92" fmla="*/ 161 w 365"/>
                <a:gd name="T93" fmla="*/ 342 h 367"/>
                <a:gd name="T94" fmla="*/ 205 w 365"/>
                <a:gd name="T95" fmla="*/ 352 h 367"/>
                <a:gd name="T96" fmla="*/ 241 w 365"/>
                <a:gd name="T97" fmla="*/ 362 h 367"/>
                <a:gd name="T98" fmla="*/ 285 w 365"/>
                <a:gd name="T99" fmla="*/ 272 h 367"/>
                <a:gd name="T100" fmla="*/ 79 w 365"/>
                <a:gd name="T101" fmla="*/ 186 h 367"/>
                <a:gd name="T102" fmla="*/ 47 w 365"/>
                <a:gd name="T103" fmla="*/ 207 h 367"/>
                <a:gd name="T104" fmla="*/ 81 w 365"/>
                <a:gd name="T105" fmla="*/ 260 h 367"/>
                <a:gd name="T106" fmla="*/ 113 w 365"/>
                <a:gd name="T107" fmla="*/ 262 h 367"/>
                <a:gd name="T108" fmla="*/ 129 w 365"/>
                <a:gd name="T109" fmla="*/ 270 h 367"/>
                <a:gd name="T110" fmla="*/ 117 w 365"/>
                <a:gd name="T111" fmla="*/ 221 h 367"/>
                <a:gd name="T112" fmla="*/ 132 w 365"/>
                <a:gd name="T113" fmla="*/ 21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8" name="Freeform 9">
              <a:extLst>
                <a:ext uri="{FF2B5EF4-FFF2-40B4-BE49-F238E27FC236}">
                  <a16:creationId xmlns:a16="http://schemas.microsoft.com/office/drawing/2014/main" id="{D191C643-76CC-4284-AA28-B323C4435CDE}"/>
                </a:ext>
              </a:extLst>
            </p:cNvPr>
            <p:cNvSpPr>
              <a:spLocks/>
            </p:cNvSpPr>
            <p:nvPr/>
          </p:nvSpPr>
          <p:spPr bwMode="auto">
            <a:xfrm>
              <a:off x="5181057" y="4031780"/>
              <a:ext cx="237258" cy="392080"/>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9" name="Freeform 10">
              <a:extLst>
                <a:ext uri="{FF2B5EF4-FFF2-40B4-BE49-F238E27FC236}">
                  <a16:creationId xmlns:a16="http://schemas.microsoft.com/office/drawing/2014/main" id="{A1952055-CCD7-4237-90A2-8111DDB71C7A}"/>
                </a:ext>
              </a:extLst>
            </p:cNvPr>
            <p:cNvSpPr>
              <a:spLocks/>
            </p:cNvSpPr>
            <p:nvPr/>
          </p:nvSpPr>
          <p:spPr bwMode="auto">
            <a:xfrm>
              <a:off x="5515832" y="3841773"/>
              <a:ext cx="634365" cy="367951"/>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0" name="Freeform 11">
              <a:extLst>
                <a:ext uri="{FF2B5EF4-FFF2-40B4-BE49-F238E27FC236}">
                  <a16:creationId xmlns:a16="http://schemas.microsoft.com/office/drawing/2014/main" id="{9F0ED69D-65C6-4CF9-8027-00CF5E7F7F7D}"/>
                </a:ext>
              </a:extLst>
            </p:cNvPr>
            <p:cNvSpPr>
              <a:spLocks/>
            </p:cNvSpPr>
            <p:nvPr/>
          </p:nvSpPr>
          <p:spPr bwMode="auto">
            <a:xfrm>
              <a:off x="5337889" y="4066967"/>
              <a:ext cx="263397" cy="207098"/>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1" name="Freeform 12">
              <a:extLst>
                <a:ext uri="{FF2B5EF4-FFF2-40B4-BE49-F238E27FC236}">
                  <a16:creationId xmlns:a16="http://schemas.microsoft.com/office/drawing/2014/main" id="{C37A18ED-8159-4FFF-BEDE-773A849C183F}"/>
                </a:ext>
              </a:extLst>
            </p:cNvPr>
            <p:cNvSpPr>
              <a:spLocks/>
            </p:cNvSpPr>
            <p:nvPr/>
          </p:nvSpPr>
          <p:spPr bwMode="auto">
            <a:xfrm>
              <a:off x="5912938" y="3304925"/>
              <a:ext cx="338798" cy="374989"/>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2" name="Freeform 13">
              <a:extLst>
                <a:ext uri="{FF2B5EF4-FFF2-40B4-BE49-F238E27FC236}">
                  <a16:creationId xmlns:a16="http://schemas.microsoft.com/office/drawing/2014/main" id="{90EBF209-4166-40EF-8351-1E77333F7534}"/>
                </a:ext>
              </a:extLst>
            </p:cNvPr>
            <p:cNvSpPr>
              <a:spLocks/>
            </p:cNvSpPr>
            <p:nvPr/>
          </p:nvSpPr>
          <p:spPr bwMode="auto">
            <a:xfrm>
              <a:off x="4185778" y="3447683"/>
              <a:ext cx="36192" cy="38203"/>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3" name="Freeform 14">
              <a:extLst>
                <a:ext uri="{FF2B5EF4-FFF2-40B4-BE49-F238E27FC236}">
                  <a16:creationId xmlns:a16="http://schemas.microsoft.com/office/drawing/2014/main" id="{26A3BF3F-D582-4EF2-9AC4-7DF34DB633B7}"/>
                </a:ext>
              </a:extLst>
            </p:cNvPr>
            <p:cNvSpPr>
              <a:spLocks/>
            </p:cNvSpPr>
            <p:nvPr/>
          </p:nvSpPr>
          <p:spPr bwMode="auto">
            <a:xfrm>
              <a:off x="5287622" y="3324026"/>
              <a:ext cx="976178" cy="589125"/>
            </a:xfrm>
            <a:custGeom>
              <a:avLst/>
              <a:gdLst>
                <a:gd name="T0" fmla="*/ 360 w 411"/>
                <a:gd name="T1" fmla="*/ 241 h 248"/>
                <a:gd name="T2" fmla="*/ 379 w 411"/>
                <a:gd name="T3" fmla="*/ 187 h 248"/>
                <a:gd name="T4" fmla="*/ 397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7"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4" name="Freeform 15">
              <a:extLst>
                <a:ext uri="{FF2B5EF4-FFF2-40B4-BE49-F238E27FC236}">
                  <a16:creationId xmlns:a16="http://schemas.microsoft.com/office/drawing/2014/main" id="{3C5E70F0-9E11-4F56-8281-962354C53F60}"/>
                </a:ext>
              </a:extLst>
            </p:cNvPr>
            <p:cNvSpPr>
              <a:spLocks/>
            </p:cNvSpPr>
            <p:nvPr/>
          </p:nvSpPr>
          <p:spPr bwMode="auto">
            <a:xfrm>
              <a:off x="4820142" y="3704042"/>
              <a:ext cx="411181" cy="362925"/>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5" name="Freeform 16">
              <a:extLst>
                <a:ext uri="{FF2B5EF4-FFF2-40B4-BE49-F238E27FC236}">
                  <a16:creationId xmlns:a16="http://schemas.microsoft.com/office/drawing/2014/main" id="{0018F177-83A1-4932-A920-FF0886D1D0A5}"/>
                </a:ext>
              </a:extLst>
            </p:cNvPr>
            <p:cNvSpPr>
              <a:spLocks/>
            </p:cNvSpPr>
            <p:nvPr/>
          </p:nvSpPr>
          <p:spPr bwMode="auto">
            <a:xfrm>
              <a:off x="4620082" y="3547210"/>
              <a:ext cx="585103" cy="441341"/>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6" name="Freeform 17">
              <a:extLst>
                <a:ext uri="{FF2B5EF4-FFF2-40B4-BE49-F238E27FC236}">
                  <a16:creationId xmlns:a16="http://schemas.microsoft.com/office/drawing/2014/main" id="{DC10C0E1-E541-49CB-93B3-FC2B5E1C4B39}"/>
                </a:ext>
              </a:extLst>
            </p:cNvPr>
            <p:cNvSpPr>
              <a:spLocks/>
            </p:cNvSpPr>
            <p:nvPr/>
          </p:nvSpPr>
          <p:spPr bwMode="auto">
            <a:xfrm>
              <a:off x="4589921" y="3494933"/>
              <a:ext cx="327739" cy="190008"/>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5"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79" name="Freeform 18">
              <a:extLst>
                <a:ext uri="{FF2B5EF4-FFF2-40B4-BE49-F238E27FC236}">
                  <a16:creationId xmlns:a16="http://schemas.microsoft.com/office/drawing/2014/main" id="{AF8DF1A6-D6F5-4F15-82DB-3ECA090BEE59}"/>
                </a:ext>
              </a:extLst>
            </p:cNvPr>
            <p:cNvSpPr>
              <a:spLocks/>
            </p:cNvSpPr>
            <p:nvPr/>
          </p:nvSpPr>
          <p:spPr bwMode="auto">
            <a:xfrm>
              <a:off x="4929724" y="3167195"/>
              <a:ext cx="567007" cy="233237"/>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0" name="Freeform 19">
              <a:extLst>
                <a:ext uri="{FF2B5EF4-FFF2-40B4-BE49-F238E27FC236}">
                  <a16:creationId xmlns:a16="http://schemas.microsoft.com/office/drawing/2014/main" id="{4A2AA68E-A4EE-4CE3-A88A-5301D4814F9F}"/>
                </a:ext>
              </a:extLst>
            </p:cNvPr>
            <p:cNvSpPr>
              <a:spLocks/>
            </p:cNvSpPr>
            <p:nvPr/>
          </p:nvSpPr>
          <p:spPr bwMode="auto">
            <a:xfrm>
              <a:off x="4870409" y="3292861"/>
              <a:ext cx="678600" cy="351866"/>
            </a:xfrm>
            <a:custGeom>
              <a:avLst/>
              <a:gdLst>
                <a:gd name="T0" fmla="*/ 31 w 286"/>
                <a:gd name="T1" fmla="*/ 43 h 148"/>
                <a:gd name="T2" fmla="*/ 16 w 286"/>
                <a:gd name="T3" fmla="*/ 43 h 148"/>
                <a:gd name="T4" fmla="*/ 15 w 286"/>
                <a:gd name="T5" fmla="*/ 52 h 148"/>
                <a:gd name="T6" fmla="*/ 24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148">
                  <a:moveTo>
                    <a:pt x="31" y="43"/>
                  </a:moveTo>
                  <a:cubicBezTo>
                    <a:pt x="16" y="43"/>
                    <a:pt x="16" y="43"/>
                    <a:pt x="16" y="43"/>
                  </a:cubicBezTo>
                  <a:cubicBezTo>
                    <a:pt x="15" y="52"/>
                    <a:pt x="15" y="52"/>
                    <a:pt x="15" y="52"/>
                  </a:cubicBezTo>
                  <a:cubicBezTo>
                    <a:pt x="24" y="53"/>
                    <a:pt x="24" y="53"/>
                    <a:pt x="24"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1" name="Freeform 20">
              <a:extLst>
                <a:ext uri="{FF2B5EF4-FFF2-40B4-BE49-F238E27FC236}">
                  <a16:creationId xmlns:a16="http://schemas.microsoft.com/office/drawing/2014/main" id="{265EF34B-E58A-4B91-85DE-763DE37BCD37}"/>
                </a:ext>
              </a:extLst>
            </p:cNvPr>
            <p:cNvSpPr>
              <a:spLocks/>
            </p:cNvSpPr>
            <p:nvPr/>
          </p:nvSpPr>
          <p:spPr bwMode="auto">
            <a:xfrm>
              <a:off x="5290638" y="2321710"/>
              <a:ext cx="545896" cy="313664"/>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2" name="Freeform 21">
              <a:extLst>
                <a:ext uri="{FF2B5EF4-FFF2-40B4-BE49-F238E27FC236}">
                  <a16:creationId xmlns:a16="http://schemas.microsoft.com/office/drawing/2014/main" id="{DE0B638D-0280-4046-B120-5679CEA76077}"/>
                </a:ext>
              </a:extLst>
            </p:cNvPr>
            <p:cNvSpPr>
              <a:spLocks/>
            </p:cNvSpPr>
            <p:nvPr/>
          </p:nvSpPr>
          <p:spPr bwMode="auto">
            <a:xfrm>
              <a:off x="3848991" y="3381331"/>
              <a:ext cx="465469" cy="258371"/>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1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1" y="83"/>
                    <a:pt x="151" y="83"/>
                    <a:pt x="151"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3" name="Freeform 22">
              <a:extLst>
                <a:ext uri="{FF2B5EF4-FFF2-40B4-BE49-F238E27FC236}">
                  <a16:creationId xmlns:a16="http://schemas.microsoft.com/office/drawing/2014/main" id="{9B2418B8-7233-4827-89B1-C25B124B9005}"/>
                </a:ext>
              </a:extLst>
            </p:cNvPr>
            <p:cNvSpPr>
              <a:spLocks noEditPoints="1"/>
            </p:cNvSpPr>
            <p:nvPr/>
          </p:nvSpPr>
          <p:spPr bwMode="auto">
            <a:xfrm>
              <a:off x="3910317" y="3473822"/>
              <a:ext cx="1242590" cy="1315980"/>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5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2" y="9"/>
                    <a:pt x="222"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5" y="44"/>
                    <a:pt x="125" y="44"/>
                    <a:pt x="125"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4" name="Freeform 23">
              <a:extLst>
                <a:ext uri="{FF2B5EF4-FFF2-40B4-BE49-F238E27FC236}">
                  <a16:creationId xmlns:a16="http://schemas.microsoft.com/office/drawing/2014/main" id="{690E0851-A7F9-4F87-92AE-22C41BDA7F8A}"/>
                </a:ext>
              </a:extLst>
            </p:cNvPr>
            <p:cNvSpPr>
              <a:spLocks/>
            </p:cNvSpPr>
            <p:nvPr/>
          </p:nvSpPr>
          <p:spPr bwMode="auto">
            <a:xfrm>
              <a:off x="4461239" y="2984224"/>
              <a:ext cx="665530" cy="313664"/>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5" name="Freeform 24">
              <a:extLst>
                <a:ext uri="{FF2B5EF4-FFF2-40B4-BE49-F238E27FC236}">
                  <a16:creationId xmlns:a16="http://schemas.microsoft.com/office/drawing/2014/main" id="{D65AF7EE-19B7-4507-853F-6FF944ABC98F}"/>
                </a:ext>
              </a:extLst>
            </p:cNvPr>
            <p:cNvSpPr>
              <a:spLocks/>
            </p:cNvSpPr>
            <p:nvPr/>
          </p:nvSpPr>
          <p:spPr bwMode="auto">
            <a:xfrm>
              <a:off x="4649236" y="2525793"/>
              <a:ext cx="995278" cy="714791"/>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6" name="Freeform 25">
              <a:extLst>
                <a:ext uri="{FF2B5EF4-FFF2-40B4-BE49-F238E27FC236}">
                  <a16:creationId xmlns:a16="http://schemas.microsoft.com/office/drawing/2014/main" id="{3C1796C9-5762-4BE7-B99C-9BEBA0C995FC}"/>
                </a:ext>
              </a:extLst>
            </p:cNvPr>
            <p:cNvSpPr>
              <a:spLocks/>
            </p:cNvSpPr>
            <p:nvPr/>
          </p:nvSpPr>
          <p:spPr bwMode="auto">
            <a:xfrm>
              <a:off x="3831901" y="3098832"/>
              <a:ext cx="85454" cy="75400"/>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7" name="Freeform 26">
              <a:extLst>
                <a:ext uri="{FF2B5EF4-FFF2-40B4-BE49-F238E27FC236}">
                  <a16:creationId xmlns:a16="http://schemas.microsoft.com/office/drawing/2014/main" id="{97FE8C54-A8D2-4233-8B03-4C364A025285}"/>
                </a:ext>
              </a:extLst>
            </p:cNvPr>
            <p:cNvSpPr>
              <a:spLocks/>
            </p:cNvSpPr>
            <p:nvPr/>
          </p:nvSpPr>
          <p:spPr bwMode="auto">
            <a:xfrm>
              <a:off x="4216943" y="3231536"/>
              <a:ext cx="730877" cy="327739"/>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3" y="111"/>
                    <a:pt x="93" y="111"/>
                    <a:pt x="93" y="111"/>
                  </a:cubicBezTo>
                  <a:cubicBezTo>
                    <a:pt x="93"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3"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9" y="79"/>
                    <a:pt x="299" y="79"/>
                    <a:pt x="299" y="79"/>
                  </a:cubicBezTo>
                  <a:cubicBezTo>
                    <a:pt x="290" y="78"/>
                    <a:pt x="290" y="78"/>
                    <a:pt x="290" y="78"/>
                  </a:cubicBezTo>
                  <a:cubicBezTo>
                    <a:pt x="291" y="69"/>
                    <a:pt x="291" y="69"/>
                    <a:pt x="291" y="69"/>
                  </a:cubicBezTo>
                  <a:lnTo>
                    <a:pt x="306" y="69"/>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8" name="Freeform 27">
              <a:extLst>
                <a:ext uri="{FF2B5EF4-FFF2-40B4-BE49-F238E27FC236}">
                  <a16:creationId xmlns:a16="http://schemas.microsoft.com/office/drawing/2014/main" id="{ABB2C168-F9DD-48A4-BE88-0EE830A8153D}"/>
                </a:ext>
              </a:extLst>
            </p:cNvPr>
            <p:cNvSpPr>
              <a:spLocks/>
            </p:cNvSpPr>
            <p:nvPr/>
          </p:nvSpPr>
          <p:spPr bwMode="auto">
            <a:xfrm>
              <a:off x="3570514" y="2694688"/>
              <a:ext cx="432293" cy="344829"/>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9" name="Freeform 28">
              <a:extLst>
                <a:ext uri="{FF2B5EF4-FFF2-40B4-BE49-F238E27FC236}">
                  <a16:creationId xmlns:a16="http://schemas.microsoft.com/office/drawing/2014/main" id="{6202DB93-5398-4E17-B0F4-331809B10349}"/>
                </a:ext>
              </a:extLst>
            </p:cNvPr>
            <p:cNvSpPr>
              <a:spLocks/>
            </p:cNvSpPr>
            <p:nvPr/>
          </p:nvSpPr>
          <p:spPr bwMode="auto">
            <a:xfrm>
              <a:off x="3551413" y="2936974"/>
              <a:ext cx="353877" cy="242286"/>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0" name="Freeform 29">
              <a:extLst>
                <a:ext uri="{FF2B5EF4-FFF2-40B4-BE49-F238E27FC236}">
                  <a16:creationId xmlns:a16="http://schemas.microsoft.com/office/drawing/2014/main" id="{E7DC85E7-4EE6-40EE-9929-853E289B3E14}"/>
                </a:ext>
              </a:extLst>
            </p:cNvPr>
            <p:cNvSpPr>
              <a:spLocks/>
            </p:cNvSpPr>
            <p:nvPr/>
          </p:nvSpPr>
          <p:spPr bwMode="auto">
            <a:xfrm>
              <a:off x="3863066" y="2516745"/>
              <a:ext cx="885698" cy="932948"/>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1" name="Freeform 30">
              <a:extLst>
                <a:ext uri="{FF2B5EF4-FFF2-40B4-BE49-F238E27FC236}">
                  <a16:creationId xmlns:a16="http://schemas.microsoft.com/office/drawing/2014/main" id="{F953C854-32EE-4EF3-9153-14602B1A4F3F}"/>
                </a:ext>
              </a:extLst>
            </p:cNvPr>
            <p:cNvSpPr>
              <a:spLocks/>
            </p:cNvSpPr>
            <p:nvPr/>
          </p:nvSpPr>
          <p:spPr bwMode="auto">
            <a:xfrm>
              <a:off x="3376486" y="4031780"/>
              <a:ext cx="47251" cy="31166"/>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2" name="Freeform 31">
              <a:extLst>
                <a:ext uri="{FF2B5EF4-FFF2-40B4-BE49-F238E27FC236}">
                  <a16:creationId xmlns:a16="http://schemas.microsoft.com/office/drawing/2014/main" id="{1BCCA9D1-A1D4-4BD0-94E0-59E3D8500665}"/>
                </a:ext>
              </a:extLst>
            </p:cNvPr>
            <p:cNvSpPr>
              <a:spLocks/>
            </p:cNvSpPr>
            <p:nvPr/>
          </p:nvSpPr>
          <p:spPr bwMode="auto">
            <a:xfrm>
              <a:off x="5458528" y="2827392"/>
              <a:ext cx="1781449" cy="986232"/>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8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5"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8"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3" name="Freeform 32">
              <a:extLst>
                <a:ext uri="{FF2B5EF4-FFF2-40B4-BE49-F238E27FC236}">
                  <a16:creationId xmlns:a16="http://schemas.microsoft.com/office/drawing/2014/main" id="{F35179FD-FC2A-4256-804C-A5A108C83199}"/>
                </a:ext>
              </a:extLst>
            </p:cNvPr>
            <p:cNvSpPr>
              <a:spLocks/>
            </p:cNvSpPr>
            <p:nvPr/>
          </p:nvSpPr>
          <p:spPr bwMode="auto">
            <a:xfrm>
              <a:off x="5520859" y="2366950"/>
              <a:ext cx="906810" cy="594152"/>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7"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4" name="Freeform 33">
              <a:extLst>
                <a:ext uri="{FF2B5EF4-FFF2-40B4-BE49-F238E27FC236}">
                  <a16:creationId xmlns:a16="http://schemas.microsoft.com/office/drawing/2014/main" id="{AB45E8A1-E0EC-4B3C-ABDC-CB735D995D95}"/>
                </a:ext>
              </a:extLst>
            </p:cNvPr>
            <p:cNvSpPr>
              <a:spLocks/>
            </p:cNvSpPr>
            <p:nvPr/>
          </p:nvSpPr>
          <p:spPr bwMode="auto">
            <a:xfrm>
              <a:off x="5278574" y="2129692"/>
              <a:ext cx="678600" cy="291546"/>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5" name="Freeform 34">
              <a:extLst>
                <a:ext uri="{FF2B5EF4-FFF2-40B4-BE49-F238E27FC236}">
                  <a16:creationId xmlns:a16="http://schemas.microsoft.com/office/drawing/2014/main" id="{6E269B99-CCBE-4472-8A08-111E8988FFA6}"/>
                </a:ext>
              </a:extLst>
            </p:cNvPr>
            <p:cNvSpPr>
              <a:spLocks/>
            </p:cNvSpPr>
            <p:nvPr/>
          </p:nvSpPr>
          <p:spPr bwMode="auto">
            <a:xfrm>
              <a:off x="5140842" y="782547"/>
              <a:ext cx="1002316" cy="1140046"/>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6" name="Freeform 35">
              <a:extLst>
                <a:ext uri="{FF2B5EF4-FFF2-40B4-BE49-F238E27FC236}">
                  <a16:creationId xmlns:a16="http://schemas.microsoft.com/office/drawing/2014/main" id="{750C6016-222A-4A92-86D5-64E225168F56}"/>
                </a:ext>
              </a:extLst>
            </p:cNvPr>
            <p:cNvSpPr>
              <a:spLocks/>
            </p:cNvSpPr>
            <p:nvPr/>
          </p:nvSpPr>
          <p:spPr bwMode="auto">
            <a:xfrm>
              <a:off x="5179045" y="2473516"/>
              <a:ext cx="289536" cy="116619"/>
            </a:xfrm>
            <a:custGeom>
              <a:avLst/>
              <a:gdLst>
                <a:gd name="T0" fmla="*/ 111 w 122"/>
                <a:gd name="T1" fmla="*/ 7 h 49"/>
                <a:gd name="T2" fmla="*/ 79 w 122"/>
                <a:gd name="T3" fmla="*/ 11 h 49"/>
                <a:gd name="T4" fmla="*/ 77 w 122"/>
                <a:gd name="T5" fmla="*/ 5 h 49"/>
                <a:gd name="T6" fmla="*/ 69 w 122"/>
                <a:gd name="T7" fmla="*/ 6 h 49"/>
                <a:gd name="T8" fmla="*/ 66 w 122"/>
                <a:gd name="T9" fmla="*/ 0 h 49"/>
                <a:gd name="T10" fmla="*/ 61 w 122"/>
                <a:gd name="T11" fmla="*/ 0 h 49"/>
                <a:gd name="T12" fmla="*/ 53 w 122"/>
                <a:gd name="T13" fmla="*/ 14 h 49"/>
                <a:gd name="T14" fmla="*/ 6 w 122"/>
                <a:gd name="T15" fmla="*/ 16 h 49"/>
                <a:gd name="T16" fmla="*/ 13 w 122"/>
                <a:gd name="T17" fmla="*/ 32 h 49"/>
                <a:gd name="T18" fmla="*/ 8 w 122"/>
                <a:gd name="T19" fmla="*/ 41 h 49"/>
                <a:gd name="T20" fmla="*/ 8 w 122"/>
                <a:gd name="T21" fmla="*/ 40 h 49"/>
                <a:gd name="T22" fmla="*/ 13 w 122"/>
                <a:gd name="T23" fmla="*/ 45 h 49"/>
                <a:gd name="T24" fmla="*/ 34 w 122"/>
                <a:gd name="T25" fmla="*/ 42 h 49"/>
                <a:gd name="T26" fmla="*/ 51 w 122"/>
                <a:gd name="T27" fmla="*/ 49 h 49"/>
                <a:gd name="T28" fmla="*/ 90 w 122"/>
                <a:gd name="T29" fmla="*/ 48 h 49"/>
                <a:gd name="T30" fmla="*/ 113 w 122"/>
                <a:gd name="T31" fmla="*/ 49 h 49"/>
                <a:gd name="T32" fmla="*/ 117 w 122"/>
                <a:gd name="T33" fmla="*/ 44 h 49"/>
                <a:gd name="T34" fmla="*/ 112 w 122"/>
                <a:gd name="T35" fmla="*/ 34 h 49"/>
                <a:gd name="T36" fmla="*/ 121 w 122"/>
                <a:gd name="T37" fmla="*/ 22 h 49"/>
                <a:gd name="T38" fmla="*/ 111 w 122"/>
                <a:gd name="T39" fmla="*/ 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2" h="49">
                  <a:moveTo>
                    <a:pt x="111" y="7"/>
                  </a:moveTo>
                  <a:cubicBezTo>
                    <a:pt x="103" y="8"/>
                    <a:pt x="79" y="11"/>
                    <a:pt x="79" y="11"/>
                  </a:cubicBezTo>
                  <a:cubicBezTo>
                    <a:pt x="77" y="5"/>
                    <a:pt x="77" y="5"/>
                    <a:pt x="77" y="5"/>
                  </a:cubicBezTo>
                  <a:cubicBezTo>
                    <a:pt x="69" y="6"/>
                    <a:pt x="69" y="6"/>
                    <a:pt x="69" y="6"/>
                  </a:cubicBezTo>
                  <a:cubicBezTo>
                    <a:pt x="66" y="0"/>
                    <a:pt x="66" y="0"/>
                    <a:pt x="66" y="0"/>
                  </a:cubicBezTo>
                  <a:cubicBezTo>
                    <a:pt x="61" y="0"/>
                    <a:pt x="61" y="0"/>
                    <a:pt x="61" y="0"/>
                  </a:cubicBezTo>
                  <a:cubicBezTo>
                    <a:pt x="61" y="5"/>
                    <a:pt x="53" y="14"/>
                    <a:pt x="53" y="14"/>
                  </a:cubicBezTo>
                  <a:cubicBezTo>
                    <a:pt x="53" y="14"/>
                    <a:pt x="12" y="9"/>
                    <a:pt x="6" y="16"/>
                  </a:cubicBezTo>
                  <a:cubicBezTo>
                    <a:pt x="0" y="23"/>
                    <a:pt x="13" y="32"/>
                    <a:pt x="13" y="32"/>
                  </a:cubicBezTo>
                  <a:cubicBezTo>
                    <a:pt x="8" y="41"/>
                    <a:pt x="8" y="41"/>
                    <a:pt x="8" y="41"/>
                  </a:cubicBezTo>
                  <a:cubicBezTo>
                    <a:pt x="8" y="40"/>
                    <a:pt x="8" y="40"/>
                    <a:pt x="8" y="40"/>
                  </a:cubicBezTo>
                  <a:cubicBezTo>
                    <a:pt x="13" y="45"/>
                    <a:pt x="13" y="45"/>
                    <a:pt x="13" y="45"/>
                  </a:cubicBezTo>
                  <a:cubicBezTo>
                    <a:pt x="13" y="45"/>
                    <a:pt x="25" y="40"/>
                    <a:pt x="34" y="42"/>
                  </a:cubicBezTo>
                  <a:cubicBezTo>
                    <a:pt x="43" y="44"/>
                    <a:pt x="51" y="49"/>
                    <a:pt x="51" y="49"/>
                  </a:cubicBezTo>
                  <a:cubicBezTo>
                    <a:pt x="51" y="49"/>
                    <a:pt x="82" y="47"/>
                    <a:pt x="90" y="48"/>
                  </a:cubicBezTo>
                  <a:cubicBezTo>
                    <a:pt x="98" y="49"/>
                    <a:pt x="113" y="49"/>
                    <a:pt x="113" y="49"/>
                  </a:cubicBezTo>
                  <a:cubicBezTo>
                    <a:pt x="113" y="49"/>
                    <a:pt x="109" y="43"/>
                    <a:pt x="117" y="44"/>
                  </a:cubicBezTo>
                  <a:cubicBezTo>
                    <a:pt x="112" y="34"/>
                    <a:pt x="112" y="34"/>
                    <a:pt x="112" y="34"/>
                  </a:cubicBezTo>
                  <a:cubicBezTo>
                    <a:pt x="112" y="34"/>
                    <a:pt x="120" y="27"/>
                    <a:pt x="121" y="22"/>
                  </a:cubicBezTo>
                  <a:cubicBezTo>
                    <a:pt x="122" y="17"/>
                    <a:pt x="119" y="6"/>
                    <a:pt x="111" y="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7" name="Freeform 36">
              <a:extLst>
                <a:ext uri="{FF2B5EF4-FFF2-40B4-BE49-F238E27FC236}">
                  <a16:creationId xmlns:a16="http://schemas.microsoft.com/office/drawing/2014/main" id="{522F4C3F-3ADF-4569-B870-A4E208F8E867}"/>
                </a:ext>
              </a:extLst>
            </p:cNvPr>
            <p:cNvSpPr>
              <a:spLocks noEditPoints="1"/>
            </p:cNvSpPr>
            <p:nvPr/>
          </p:nvSpPr>
          <p:spPr bwMode="auto">
            <a:xfrm>
              <a:off x="4378801" y="895144"/>
              <a:ext cx="1089780" cy="1576361"/>
            </a:xfrm>
            <a:custGeom>
              <a:avLst/>
              <a:gdLst>
                <a:gd name="T0" fmla="*/ 445 w 459"/>
                <a:gd name="T1" fmla="*/ 95 h 664"/>
                <a:gd name="T2" fmla="*/ 424 w 459"/>
                <a:gd name="T3" fmla="*/ 67 h 664"/>
                <a:gd name="T4" fmla="*/ 391 w 459"/>
                <a:gd name="T5" fmla="*/ 26 h 664"/>
                <a:gd name="T6" fmla="*/ 338 w 459"/>
                <a:gd name="T7" fmla="*/ 9 h 664"/>
                <a:gd name="T8" fmla="*/ 305 w 459"/>
                <a:gd name="T9" fmla="*/ 14 h 664"/>
                <a:gd name="T10" fmla="*/ 284 w 459"/>
                <a:gd name="T11" fmla="*/ 25 h 664"/>
                <a:gd name="T12" fmla="*/ 243 w 459"/>
                <a:gd name="T13" fmla="*/ 25 h 664"/>
                <a:gd name="T14" fmla="*/ 216 w 459"/>
                <a:gd name="T15" fmla="*/ 45 h 664"/>
                <a:gd name="T16" fmla="*/ 165 w 459"/>
                <a:gd name="T17" fmla="*/ 71 h 664"/>
                <a:gd name="T18" fmla="*/ 161 w 459"/>
                <a:gd name="T19" fmla="*/ 99 h 664"/>
                <a:gd name="T20" fmla="*/ 146 w 459"/>
                <a:gd name="T21" fmla="*/ 128 h 664"/>
                <a:gd name="T22" fmla="*/ 118 w 459"/>
                <a:gd name="T23" fmla="*/ 144 h 664"/>
                <a:gd name="T24" fmla="*/ 96 w 459"/>
                <a:gd name="T25" fmla="*/ 194 h 664"/>
                <a:gd name="T26" fmla="*/ 68 w 459"/>
                <a:gd name="T27" fmla="*/ 227 h 664"/>
                <a:gd name="T28" fmla="*/ 28 w 459"/>
                <a:gd name="T29" fmla="*/ 260 h 664"/>
                <a:gd name="T30" fmla="*/ 21 w 459"/>
                <a:gd name="T31" fmla="*/ 290 h 664"/>
                <a:gd name="T32" fmla="*/ 33 w 459"/>
                <a:gd name="T33" fmla="*/ 334 h 664"/>
                <a:gd name="T34" fmla="*/ 50 w 459"/>
                <a:gd name="T35" fmla="*/ 374 h 664"/>
                <a:gd name="T36" fmla="*/ 51 w 459"/>
                <a:gd name="T37" fmla="*/ 409 h 664"/>
                <a:gd name="T38" fmla="*/ 36 w 459"/>
                <a:gd name="T39" fmla="*/ 431 h 664"/>
                <a:gd name="T40" fmla="*/ 15 w 459"/>
                <a:gd name="T41" fmla="*/ 452 h 664"/>
                <a:gd name="T42" fmla="*/ 0 w 459"/>
                <a:gd name="T43" fmla="*/ 469 h 664"/>
                <a:gd name="T44" fmla="*/ 19 w 459"/>
                <a:gd name="T45" fmla="*/ 515 h 664"/>
                <a:gd name="T46" fmla="*/ 49 w 459"/>
                <a:gd name="T47" fmla="*/ 586 h 664"/>
                <a:gd name="T48" fmla="*/ 53 w 459"/>
                <a:gd name="T49" fmla="*/ 607 h 664"/>
                <a:gd name="T50" fmla="*/ 69 w 459"/>
                <a:gd name="T51" fmla="*/ 656 h 664"/>
                <a:gd name="T52" fmla="*/ 120 w 459"/>
                <a:gd name="T53" fmla="*/ 631 h 664"/>
                <a:gd name="T54" fmla="*/ 176 w 459"/>
                <a:gd name="T55" fmla="*/ 618 h 664"/>
                <a:gd name="T56" fmla="*/ 206 w 459"/>
                <a:gd name="T57" fmla="*/ 549 h 664"/>
                <a:gd name="T58" fmla="*/ 196 w 459"/>
                <a:gd name="T59" fmla="*/ 507 h 664"/>
                <a:gd name="T60" fmla="*/ 237 w 459"/>
                <a:gd name="T61" fmla="*/ 489 h 664"/>
                <a:gd name="T62" fmla="*/ 270 w 459"/>
                <a:gd name="T63" fmla="*/ 456 h 664"/>
                <a:gd name="T64" fmla="*/ 271 w 459"/>
                <a:gd name="T65" fmla="*/ 409 h 664"/>
                <a:gd name="T66" fmla="*/ 217 w 459"/>
                <a:gd name="T67" fmla="*/ 350 h 664"/>
                <a:gd name="T68" fmla="*/ 237 w 459"/>
                <a:gd name="T69" fmla="*/ 303 h 664"/>
                <a:gd name="T70" fmla="*/ 271 w 459"/>
                <a:gd name="T71" fmla="*/ 270 h 664"/>
                <a:gd name="T72" fmla="*/ 340 w 459"/>
                <a:gd name="T73" fmla="*/ 249 h 664"/>
                <a:gd name="T74" fmla="*/ 372 w 459"/>
                <a:gd name="T75" fmla="*/ 175 h 664"/>
                <a:gd name="T76" fmla="*/ 396 w 459"/>
                <a:gd name="T77" fmla="*/ 144 h 664"/>
                <a:gd name="T78" fmla="*/ 459 w 459"/>
                <a:gd name="T79" fmla="*/ 157 h 664"/>
                <a:gd name="T80" fmla="*/ 271 w 459"/>
                <a:gd name="T81" fmla="*/ 583 h 664"/>
                <a:gd name="T82" fmla="*/ 290 w 459"/>
                <a:gd name="T83" fmla="*/ 543 h 664"/>
                <a:gd name="T84" fmla="*/ 200 w 459"/>
                <a:gd name="T85" fmla="*/ 597 h 664"/>
                <a:gd name="T86" fmla="*/ 230 w 459"/>
                <a:gd name="T87" fmla="*/ 570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8" name="Freeform 37">
              <a:extLst>
                <a:ext uri="{FF2B5EF4-FFF2-40B4-BE49-F238E27FC236}">
                  <a16:creationId xmlns:a16="http://schemas.microsoft.com/office/drawing/2014/main" id="{D784121C-5524-47E3-A835-499ECB2DF535}"/>
                </a:ext>
              </a:extLst>
            </p:cNvPr>
            <p:cNvSpPr>
              <a:spLocks noEditPoints="1"/>
            </p:cNvSpPr>
            <p:nvPr/>
          </p:nvSpPr>
          <p:spPr bwMode="auto">
            <a:xfrm>
              <a:off x="3824863" y="661907"/>
              <a:ext cx="2149400" cy="1490908"/>
            </a:xfrm>
            <a:custGeom>
              <a:avLst/>
              <a:gdLst>
                <a:gd name="T0" fmla="*/ 425 w 905"/>
                <a:gd name="T1" fmla="*/ 95 h 628"/>
                <a:gd name="T2" fmla="*/ 363 w 905"/>
                <a:gd name="T3" fmla="*/ 100 h 628"/>
                <a:gd name="T4" fmla="*/ 631 w 905"/>
                <a:gd name="T5" fmla="*/ 20 h 628"/>
                <a:gd name="T6" fmla="*/ 315 w 905"/>
                <a:gd name="T7" fmla="*/ 138 h 628"/>
                <a:gd name="T8" fmla="*/ 856 w 905"/>
                <a:gd name="T9" fmla="*/ 62 h 628"/>
                <a:gd name="T10" fmla="*/ 827 w 905"/>
                <a:gd name="T11" fmla="*/ 13 h 628"/>
                <a:gd name="T12" fmla="*/ 746 w 905"/>
                <a:gd name="T13" fmla="*/ 11 h 628"/>
                <a:gd name="T14" fmla="*/ 683 w 905"/>
                <a:gd name="T15" fmla="*/ 11 h 628"/>
                <a:gd name="T16" fmla="*/ 585 w 905"/>
                <a:gd name="T17" fmla="*/ 46 h 628"/>
                <a:gd name="T18" fmla="*/ 524 w 905"/>
                <a:gd name="T19" fmla="*/ 83 h 628"/>
                <a:gd name="T20" fmla="*/ 499 w 905"/>
                <a:gd name="T21" fmla="*/ 85 h 628"/>
                <a:gd name="T22" fmla="*/ 468 w 905"/>
                <a:gd name="T23" fmla="*/ 81 h 628"/>
                <a:gd name="T24" fmla="*/ 418 w 905"/>
                <a:gd name="T25" fmla="*/ 110 h 628"/>
                <a:gd name="T26" fmla="*/ 399 w 905"/>
                <a:gd name="T27" fmla="*/ 123 h 628"/>
                <a:gd name="T28" fmla="*/ 383 w 905"/>
                <a:gd name="T29" fmla="*/ 143 h 628"/>
                <a:gd name="T30" fmla="*/ 350 w 905"/>
                <a:gd name="T31" fmla="*/ 164 h 628"/>
                <a:gd name="T32" fmla="*/ 313 w 905"/>
                <a:gd name="T33" fmla="*/ 191 h 628"/>
                <a:gd name="T34" fmla="*/ 309 w 905"/>
                <a:gd name="T35" fmla="*/ 234 h 628"/>
                <a:gd name="T36" fmla="*/ 257 w 905"/>
                <a:gd name="T37" fmla="*/ 268 h 628"/>
                <a:gd name="T38" fmla="*/ 237 w 905"/>
                <a:gd name="T39" fmla="*/ 307 h 628"/>
                <a:gd name="T40" fmla="*/ 187 w 905"/>
                <a:gd name="T41" fmla="*/ 326 h 628"/>
                <a:gd name="T42" fmla="*/ 144 w 905"/>
                <a:gd name="T43" fmla="*/ 345 h 628"/>
                <a:gd name="T44" fmla="*/ 108 w 905"/>
                <a:gd name="T45" fmla="*/ 368 h 628"/>
                <a:gd name="T46" fmla="*/ 88 w 905"/>
                <a:gd name="T47" fmla="*/ 390 h 628"/>
                <a:gd name="T48" fmla="*/ 66 w 905"/>
                <a:gd name="T49" fmla="*/ 415 h 628"/>
                <a:gd name="T50" fmla="*/ 20 w 905"/>
                <a:gd name="T51" fmla="*/ 422 h 628"/>
                <a:gd name="T52" fmla="*/ 3 w 905"/>
                <a:gd name="T53" fmla="*/ 445 h 628"/>
                <a:gd name="T54" fmla="*/ 52 w 905"/>
                <a:gd name="T55" fmla="*/ 472 h 628"/>
                <a:gd name="T56" fmla="*/ 62 w 905"/>
                <a:gd name="T57" fmla="*/ 475 h 628"/>
                <a:gd name="T58" fmla="*/ 20 w 905"/>
                <a:gd name="T59" fmla="*/ 492 h 628"/>
                <a:gd name="T60" fmla="*/ 59 w 905"/>
                <a:gd name="T61" fmla="*/ 516 h 628"/>
                <a:gd name="T62" fmla="*/ 14 w 905"/>
                <a:gd name="T63" fmla="*/ 544 h 628"/>
                <a:gd name="T64" fmla="*/ 41 w 905"/>
                <a:gd name="T65" fmla="*/ 573 h 628"/>
                <a:gd name="T66" fmla="*/ 55 w 905"/>
                <a:gd name="T67" fmla="*/ 621 h 628"/>
                <a:gd name="T68" fmla="*/ 193 w 905"/>
                <a:gd name="T69" fmla="*/ 568 h 628"/>
                <a:gd name="T70" fmla="*/ 247 w 905"/>
                <a:gd name="T71" fmla="*/ 580 h 628"/>
                <a:gd name="T72" fmla="*/ 269 w 905"/>
                <a:gd name="T73" fmla="*/ 529 h 628"/>
                <a:gd name="T74" fmla="*/ 268 w 905"/>
                <a:gd name="T75" fmla="*/ 475 h 628"/>
                <a:gd name="T76" fmla="*/ 272 w 905"/>
                <a:gd name="T77" fmla="*/ 413 h 628"/>
                <a:gd name="T78" fmla="*/ 261 w 905"/>
                <a:gd name="T79" fmla="*/ 358 h 628"/>
                <a:gd name="T80" fmla="*/ 315 w 905"/>
                <a:gd name="T81" fmla="*/ 302 h 628"/>
                <a:gd name="T82" fmla="*/ 349 w 905"/>
                <a:gd name="T83" fmla="*/ 226 h 628"/>
                <a:gd name="T84" fmla="*/ 394 w 905"/>
                <a:gd name="T85" fmla="*/ 197 h 628"/>
                <a:gd name="T86" fmla="*/ 423 w 905"/>
                <a:gd name="T87" fmla="*/ 147 h 628"/>
                <a:gd name="T88" fmla="*/ 495 w 905"/>
                <a:gd name="T89" fmla="*/ 119 h 628"/>
                <a:gd name="T90" fmla="*/ 538 w 905"/>
                <a:gd name="T91" fmla="*/ 112 h 628"/>
                <a:gd name="T92" fmla="*/ 568 w 905"/>
                <a:gd name="T93" fmla="*/ 96 h 628"/>
                <a:gd name="T94" fmla="*/ 618 w 905"/>
                <a:gd name="T95" fmla="*/ 110 h 628"/>
                <a:gd name="T96" fmla="*/ 702 w 905"/>
                <a:gd name="T97" fmla="*/ 116 h 628"/>
                <a:gd name="T98" fmla="*/ 752 w 905"/>
                <a:gd name="T99" fmla="*/ 56 h 628"/>
                <a:gd name="T100" fmla="*/ 843 w 905"/>
                <a:gd name="T101" fmla="*/ 82 h 628"/>
                <a:gd name="T102" fmla="*/ 870 w 905"/>
                <a:gd name="T103" fmla="*/ 82 h 628"/>
                <a:gd name="T104" fmla="*/ 372 w 905"/>
                <a:gd name="T105" fmla="*/ 107 h 628"/>
                <a:gd name="T106" fmla="*/ 372 w 905"/>
                <a:gd name="T107" fmla="*/ 107 h 628"/>
                <a:gd name="T108" fmla="*/ 403 w 905"/>
                <a:gd name="T109" fmla="*/ 116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5" h="628">
                  <a:moveTo>
                    <a:pt x="425" y="95"/>
                  </a:moveTo>
                  <a:cubicBezTo>
                    <a:pt x="441" y="92"/>
                    <a:pt x="440" y="82"/>
                    <a:pt x="447" y="82"/>
                  </a:cubicBezTo>
                  <a:cubicBezTo>
                    <a:pt x="453" y="82"/>
                    <a:pt x="447" y="71"/>
                    <a:pt x="447" y="71"/>
                  </a:cubicBezTo>
                  <a:cubicBezTo>
                    <a:pt x="417" y="85"/>
                    <a:pt x="417" y="85"/>
                    <a:pt x="417" y="85"/>
                  </a:cubicBezTo>
                  <a:lnTo>
                    <a:pt x="425" y="95"/>
                  </a:lnTo>
                  <a:close/>
                  <a:moveTo>
                    <a:pt x="513" y="55"/>
                  </a:moveTo>
                  <a:cubicBezTo>
                    <a:pt x="522" y="52"/>
                    <a:pt x="535" y="42"/>
                    <a:pt x="517" y="41"/>
                  </a:cubicBezTo>
                  <a:cubicBezTo>
                    <a:pt x="500" y="40"/>
                    <a:pt x="513" y="55"/>
                    <a:pt x="513" y="55"/>
                  </a:cubicBezTo>
                  <a:close/>
                  <a:moveTo>
                    <a:pt x="392" y="88"/>
                  </a:moveTo>
                  <a:cubicBezTo>
                    <a:pt x="373" y="83"/>
                    <a:pt x="363" y="100"/>
                    <a:pt x="363" y="100"/>
                  </a:cubicBezTo>
                  <a:cubicBezTo>
                    <a:pt x="379" y="104"/>
                    <a:pt x="379" y="104"/>
                    <a:pt x="379" y="104"/>
                  </a:cubicBezTo>
                  <a:cubicBezTo>
                    <a:pt x="385" y="100"/>
                    <a:pt x="411" y="92"/>
                    <a:pt x="392" y="88"/>
                  </a:cubicBezTo>
                  <a:close/>
                  <a:moveTo>
                    <a:pt x="610" y="32"/>
                  </a:moveTo>
                  <a:cubicBezTo>
                    <a:pt x="623" y="35"/>
                    <a:pt x="623" y="35"/>
                    <a:pt x="623" y="35"/>
                  </a:cubicBezTo>
                  <a:cubicBezTo>
                    <a:pt x="631" y="26"/>
                    <a:pt x="631" y="20"/>
                    <a:pt x="631" y="20"/>
                  </a:cubicBezTo>
                  <a:cubicBezTo>
                    <a:pt x="611" y="22"/>
                    <a:pt x="611" y="22"/>
                    <a:pt x="611" y="22"/>
                  </a:cubicBezTo>
                  <a:lnTo>
                    <a:pt x="610" y="32"/>
                  </a:lnTo>
                  <a:close/>
                  <a:moveTo>
                    <a:pt x="320" y="127"/>
                  </a:moveTo>
                  <a:cubicBezTo>
                    <a:pt x="304" y="127"/>
                    <a:pt x="279" y="146"/>
                    <a:pt x="285" y="150"/>
                  </a:cubicBezTo>
                  <a:cubicBezTo>
                    <a:pt x="290" y="153"/>
                    <a:pt x="315" y="138"/>
                    <a:pt x="315" y="138"/>
                  </a:cubicBezTo>
                  <a:cubicBezTo>
                    <a:pt x="338" y="134"/>
                    <a:pt x="338" y="134"/>
                    <a:pt x="338" y="134"/>
                  </a:cubicBezTo>
                  <a:cubicBezTo>
                    <a:pt x="335" y="134"/>
                    <a:pt x="336" y="127"/>
                    <a:pt x="320" y="127"/>
                  </a:cubicBezTo>
                  <a:close/>
                  <a:moveTo>
                    <a:pt x="901" y="66"/>
                  </a:moveTo>
                  <a:cubicBezTo>
                    <a:pt x="884" y="69"/>
                    <a:pt x="884" y="69"/>
                    <a:pt x="884" y="69"/>
                  </a:cubicBezTo>
                  <a:cubicBezTo>
                    <a:pt x="856" y="62"/>
                    <a:pt x="856" y="62"/>
                    <a:pt x="856" y="62"/>
                  </a:cubicBezTo>
                  <a:cubicBezTo>
                    <a:pt x="836" y="51"/>
                    <a:pt x="836" y="51"/>
                    <a:pt x="836" y="51"/>
                  </a:cubicBezTo>
                  <a:cubicBezTo>
                    <a:pt x="836" y="51"/>
                    <a:pt x="862" y="55"/>
                    <a:pt x="873" y="50"/>
                  </a:cubicBezTo>
                  <a:cubicBezTo>
                    <a:pt x="884" y="45"/>
                    <a:pt x="902" y="39"/>
                    <a:pt x="902" y="39"/>
                  </a:cubicBezTo>
                  <a:cubicBezTo>
                    <a:pt x="902" y="39"/>
                    <a:pt x="876" y="24"/>
                    <a:pt x="862" y="24"/>
                  </a:cubicBezTo>
                  <a:cubicBezTo>
                    <a:pt x="848" y="24"/>
                    <a:pt x="827" y="13"/>
                    <a:pt x="827" y="13"/>
                  </a:cubicBezTo>
                  <a:cubicBezTo>
                    <a:pt x="827" y="13"/>
                    <a:pt x="819" y="39"/>
                    <a:pt x="803" y="36"/>
                  </a:cubicBezTo>
                  <a:cubicBezTo>
                    <a:pt x="787" y="33"/>
                    <a:pt x="815" y="15"/>
                    <a:pt x="815" y="15"/>
                  </a:cubicBezTo>
                  <a:cubicBezTo>
                    <a:pt x="771" y="0"/>
                    <a:pt x="771" y="0"/>
                    <a:pt x="771" y="0"/>
                  </a:cubicBezTo>
                  <a:cubicBezTo>
                    <a:pt x="771" y="0"/>
                    <a:pt x="763" y="49"/>
                    <a:pt x="749" y="43"/>
                  </a:cubicBezTo>
                  <a:cubicBezTo>
                    <a:pt x="735" y="37"/>
                    <a:pt x="746" y="11"/>
                    <a:pt x="746" y="11"/>
                  </a:cubicBezTo>
                  <a:cubicBezTo>
                    <a:pt x="746" y="11"/>
                    <a:pt x="708" y="55"/>
                    <a:pt x="698" y="48"/>
                  </a:cubicBezTo>
                  <a:cubicBezTo>
                    <a:pt x="688" y="41"/>
                    <a:pt x="734" y="5"/>
                    <a:pt x="734" y="5"/>
                  </a:cubicBezTo>
                  <a:cubicBezTo>
                    <a:pt x="711" y="3"/>
                    <a:pt x="711" y="3"/>
                    <a:pt x="711" y="3"/>
                  </a:cubicBezTo>
                  <a:cubicBezTo>
                    <a:pt x="699" y="13"/>
                    <a:pt x="699" y="13"/>
                    <a:pt x="699" y="13"/>
                  </a:cubicBezTo>
                  <a:cubicBezTo>
                    <a:pt x="683" y="11"/>
                    <a:pt x="683" y="11"/>
                    <a:pt x="683" y="11"/>
                  </a:cubicBezTo>
                  <a:cubicBezTo>
                    <a:pt x="653" y="29"/>
                    <a:pt x="653" y="29"/>
                    <a:pt x="653" y="29"/>
                  </a:cubicBezTo>
                  <a:cubicBezTo>
                    <a:pt x="637" y="30"/>
                    <a:pt x="637" y="30"/>
                    <a:pt x="637" y="30"/>
                  </a:cubicBezTo>
                  <a:cubicBezTo>
                    <a:pt x="635" y="50"/>
                    <a:pt x="635" y="50"/>
                    <a:pt x="635" y="50"/>
                  </a:cubicBezTo>
                  <a:cubicBezTo>
                    <a:pt x="611" y="41"/>
                    <a:pt x="611" y="41"/>
                    <a:pt x="611" y="41"/>
                  </a:cubicBezTo>
                  <a:cubicBezTo>
                    <a:pt x="585" y="46"/>
                    <a:pt x="585" y="46"/>
                    <a:pt x="585" y="46"/>
                  </a:cubicBezTo>
                  <a:cubicBezTo>
                    <a:pt x="593" y="64"/>
                    <a:pt x="593" y="64"/>
                    <a:pt x="593" y="64"/>
                  </a:cubicBezTo>
                  <a:cubicBezTo>
                    <a:pt x="562" y="55"/>
                    <a:pt x="562" y="55"/>
                    <a:pt x="562" y="55"/>
                  </a:cubicBezTo>
                  <a:cubicBezTo>
                    <a:pt x="551" y="61"/>
                    <a:pt x="551" y="61"/>
                    <a:pt x="551" y="61"/>
                  </a:cubicBezTo>
                  <a:cubicBezTo>
                    <a:pt x="554" y="77"/>
                    <a:pt x="554" y="77"/>
                    <a:pt x="554" y="77"/>
                  </a:cubicBezTo>
                  <a:cubicBezTo>
                    <a:pt x="524" y="83"/>
                    <a:pt x="524" y="83"/>
                    <a:pt x="524" y="83"/>
                  </a:cubicBezTo>
                  <a:cubicBezTo>
                    <a:pt x="527" y="62"/>
                    <a:pt x="527" y="62"/>
                    <a:pt x="527" y="62"/>
                  </a:cubicBezTo>
                  <a:cubicBezTo>
                    <a:pt x="507" y="62"/>
                    <a:pt x="507" y="62"/>
                    <a:pt x="507" y="62"/>
                  </a:cubicBezTo>
                  <a:cubicBezTo>
                    <a:pt x="513" y="75"/>
                    <a:pt x="513" y="75"/>
                    <a:pt x="513" y="75"/>
                  </a:cubicBezTo>
                  <a:cubicBezTo>
                    <a:pt x="497" y="65"/>
                    <a:pt x="497" y="65"/>
                    <a:pt x="497" y="65"/>
                  </a:cubicBezTo>
                  <a:cubicBezTo>
                    <a:pt x="499" y="85"/>
                    <a:pt x="499" y="85"/>
                    <a:pt x="499" y="85"/>
                  </a:cubicBezTo>
                  <a:cubicBezTo>
                    <a:pt x="482" y="84"/>
                    <a:pt x="482" y="84"/>
                    <a:pt x="482" y="84"/>
                  </a:cubicBezTo>
                  <a:cubicBezTo>
                    <a:pt x="482" y="84"/>
                    <a:pt x="479" y="71"/>
                    <a:pt x="481" y="68"/>
                  </a:cubicBezTo>
                  <a:cubicBezTo>
                    <a:pt x="483" y="65"/>
                    <a:pt x="494" y="55"/>
                    <a:pt x="494" y="55"/>
                  </a:cubicBezTo>
                  <a:cubicBezTo>
                    <a:pt x="471" y="52"/>
                    <a:pt x="471" y="52"/>
                    <a:pt x="471" y="52"/>
                  </a:cubicBezTo>
                  <a:cubicBezTo>
                    <a:pt x="468" y="81"/>
                    <a:pt x="468" y="81"/>
                    <a:pt x="468" y="81"/>
                  </a:cubicBezTo>
                  <a:cubicBezTo>
                    <a:pt x="450" y="90"/>
                    <a:pt x="450" y="90"/>
                    <a:pt x="450" y="90"/>
                  </a:cubicBezTo>
                  <a:cubicBezTo>
                    <a:pt x="460" y="98"/>
                    <a:pt x="460" y="98"/>
                    <a:pt x="460" y="98"/>
                  </a:cubicBezTo>
                  <a:cubicBezTo>
                    <a:pt x="438" y="101"/>
                    <a:pt x="438" y="101"/>
                    <a:pt x="438" y="101"/>
                  </a:cubicBezTo>
                  <a:cubicBezTo>
                    <a:pt x="446" y="109"/>
                    <a:pt x="446" y="109"/>
                    <a:pt x="446" y="109"/>
                  </a:cubicBezTo>
                  <a:cubicBezTo>
                    <a:pt x="418" y="110"/>
                    <a:pt x="418" y="110"/>
                    <a:pt x="418" y="110"/>
                  </a:cubicBezTo>
                  <a:cubicBezTo>
                    <a:pt x="418" y="118"/>
                    <a:pt x="418" y="118"/>
                    <a:pt x="418" y="118"/>
                  </a:cubicBezTo>
                  <a:cubicBezTo>
                    <a:pt x="439" y="123"/>
                    <a:pt x="439" y="123"/>
                    <a:pt x="439" y="123"/>
                  </a:cubicBezTo>
                  <a:cubicBezTo>
                    <a:pt x="432" y="132"/>
                    <a:pt x="432" y="132"/>
                    <a:pt x="432" y="132"/>
                  </a:cubicBezTo>
                  <a:cubicBezTo>
                    <a:pt x="408" y="122"/>
                    <a:pt x="408" y="122"/>
                    <a:pt x="408" y="122"/>
                  </a:cubicBezTo>
                  <a:cubicBezTo>
                    <a:pt x="399" y="123"/>
                    <a:pt x="399" y="123"/>
                    <a:pt x="399" y="123"/>
                  </a:cubicBezTo>
                  <a:cubicBezTo>
                    <a:pt x="415" y="134"/>
                    <a:pt x="415" y="134"/>
                    <a:pt x="415" y="134"/>
                  </a:cubicBezTo>
                  <a:cubicBezTo>
                    <a:pt x="400" y="145"/>
                    <a:pt x="400" y="145"/>
                    <a:pt x="400" y="145"/>
                  </a:cubicBezTo>
                  <a:cubicBezTo>
                    <a:pt x="392" y="132"/>
                    <a:pt x="392" y="132"/>
                    <a:pt x="392" y="132"/>
                  </a:cubicBezTo>
                  <a:cubicBezTo>
                    <a:pt x="382" y="138"/>
                    <a:pt x="382" y="138"/>
                    <a:pt x="382" y="138"/>
                  </a:cubicBezTo>
                  <a:cubicBezTo>
                    <a:pt x="383" y="143"/>
                    <a:pt x="383" y="143"/>
                    <a:pt x="383" y="143"/>
                  </a:cubicBezTo>
                  <a:cubicBezTo>
                    <a:pt x="360" y="144"/>
                    <a:pt x="360" y="144"/>
                    <a:pt x="360" y="144"/>
                  </a:cubicBezTo>
                  <a:cubicBezTo>
                    <a:pt x="357" y="153"/>
                    <a:pt x="357" y="153"/>
                    <a:pt x="357" y="153"/>
                  </a:cubicBezTo>
                  <a:cubicBezTo>
                    <a:pt x="374" y="162"/>
                    <a:pt x="374" y="162"/>
                    <a:pt x="374" y="162"/>
                  </a:cubicBezTo>
                  <a:cubicBezTo>
                    <a:pt x="372" y="172"/>
                    <a:pt x="372" y="172"/>
                    <a:pt x="372" y="172"/>
                  </a:cubicBezTo>
                  <a:cubicBezTo>
                    <a:pt x="350" y="164"/>
                    <a:pt x="350" y="164"/>
                    <a:pt x="350" y="164"/>
                  </a:cubicBezTo>
                  <a:cubicBezTo>
                    <a:pt x="347" y="174"/>
                    <a:pt x="347" y="174"/>
                    <a:pt x="347" y="174"/>
                  </a:cubicBezTo>
                  <a:cubicBezTo>
                    <a:pt x="365" y="179"/>
                    <a:pt x="365" y="179"/>
                    <a:pt x="365" y="179"/>
                  </a:cubicBezTo>
                  <a:cubicBezTo>
                    <a:pt x="365" y="179"/>
                    <a:pt x="344" y="180"/>
                    <a:pt x="337" y="181"/>
                  </a:cubicBezTo>
                  <a:cubicBezTo>
                    <a:pt x="330" y="182"/>
                    <a:pt x="334" y="192"/>
                    <a:pt x="334" y="192"/>
                  </a:cubicBezTo>
                  <a:cubicBezTo>
                    <a:pt x="334" y="192"/>
                    <a:pt x="321" y="185"/>
                    <a:pt x="313" y="191"/>
                  </a:cubicBezTo>
                  <a:cubicBezTo>
                    <a:pt x="305" y="197"/>
                    <a:pt x="298" y="202"/>
                    <a:pt x="303" y="205"/>
                  </a:cubicBezTo>
                  <a:cubicBezTo>
                    <a:pt x="308" y="208"/>
                    <a:pt x="297" y="214"/>
                    <a:pt x="297" y="214"/>
                  </a:cubicBezTo>
                  <a:cubicBezTo>
                    <a:pt x="297" y="214"/>
                    <a:pt x="290" y="223"/>
                    <a:pt x="293" y="224"/>
                  </a:cubicBezTo>
                  <a:cubicBezTo>
                    <a:pt x="296" y="225"/>
                    <a:pt x="316" y="226"/>
                    <a:pt x="316" y="226"/>
                  </a:cubicBezTo>
                  <a:cubicBezTo>
                    <a:pt x="309" y="234"/>
                    <a:pt x="309" y="234"/>
                    <a:pt x="309" y="234"/>
                  </a:cubicBezTo>
                  <a:cubicBezTo>
                    <a:pt x="286" y="230"/>
                    <a:pt x="286" y="230"/>
                    <a:pt x="286" y="230"/>
                  </a:cubicBezTo>
                  <a:cubicBezTo>
                    <a:pt x="286" y="230"/>
                    <a:pt x="273" y="232"/>
                    <a:pt x="273" y="240"/>
                  </a:cubicBezTo>
                  <a:cubicBezTo>
                    <a:pt x="273" y="248"/>
                    <a:pt x="283" y="254"/>
                    <a:pt x="279" y="257"/>
                  </a:cubicBezTo>
                  <a:cubicBezTo>
                    <a:pt x="275" y="260"/>
                    <a:pt x="271" y="260"/>
                    <a:pt x="266" y="260"/>
                  </a:cubicBezTo>
                  <a:cubicBezTo>
                    <a:pt x="261" y="260"/>
                    <a:pt x="255" y="261"/>
                    <a:pt x="257" y="268"/>
                  </a:cubicBezTo>
                  <a:cubicBezTo>
                    <a:pt x="259" y="275"/>
                    <a:pt x="267" y="279"/>
                    <a:pt x="267" y="279"/>
                  </a:cubicBezTo>
                  <a:cubicBezTo>
                    <a:pt x="267" y="279"/>
                    <a:pt x="273" y="290"/>
                    <a:pt x="266" y="291"/>
                  </a:cubicBezTo>
                  <a:cubicBezTo>
                    <a:pt x="259" y="292"/>
                    <a:pt x="252" y="291"/>
                    <a:pt x="249" y="291"/>
                  </a:cubicBezTo>
                  <a:cubicBezTo>
                    <a:pt x="246" y="291"/>
                    <a:pt x="243" y="292"/>
                    <a:pt x="240" y="296"/>
                  </a:cubicBezTo>
                  <a:cubicBezTo>
                    <a:pt x="237" y="300"/>
                    <a:pt x="237" y="307"/>
                    <a:pt x="237" y="307"/>
                  </a:cubicBezTo>
                  <a:cubicBezTo>
                    <a:pt x="237" y="307"/>
                    <a:pt x="239" y="314"/>
                    <a:pt x="232" y="314"/>
                  </a:cubicBezTo>
                  <a:cubicBezTo>
                    <a:pt x="225" y="314"/>
                    <a:pt x="222" y="307"/>
                    <a:pt x="216" y="308"/>
                  </a:cubicBezTo>
                  <a:cubicBezTo>
                    <a:pt x="210" y="309"/>
                    <a:pt x="212" y="309"/>
                    <a:pt x="207" y="313"/>
                  </a:cubicBezTo>
                  <a:cubicBezTo>
                    <a:pt x="202" y="317"/>
                    <a:pt x="202" y="318"/>
                    <a:pt x="199" y="322"/>
                  </a:cubicBezTo>
                  <a:cubicBezTo>
                    <a:pt x="196" y="326"/>
                    <a:pt x="187" y="326"/>
                    <a:pt x="187" y="326"/>
                  </a:cubicBezTo>
                  <a:cubicBezTo>
                    <a:pt x="187" y="326"/>
                    <a:pt x="183" y="327"/>
                    <a:pt x="180" y="333"/>
                  </a:cubicBezTo>
                  <a:cubicBezTo>
                    <a:pt x="177" y="339"/>
                    <a:pt x="186" y="343"/>
                    <a:pt x="181" y="346"/>
                  </a:cubicBezTo>
                  <a:cubicBezTo>
                    <a:pt x="176" y="349"/>
                    <a:pt x="175" y="351"/>
                    <a:pt x="170" y="351"/>
                  </a:cubicBezTo>
                  <a:cubicBezTo>
                    <a:pt x="165" y="351"/>
                    <a:pt x="156" y="346"/>
                    <a:pt x="153" y="346"/>
                  </a:cubicBezTo>
                  <a:cubicBezTo>
                    <a:pt x="150" y="346"/>
                    <a:pt x="157" y="338"/>
                    <a:pt x="144" y="345"/>
                  </a:cubicBezTo>
                  <a:cubicBezTo>
                    <a:pt x="131" y="352"/>
                    <a:pt x="130" y="353"/>
                    <a:pt x="126" y="352"/>
                  </a:cubicBezTo>
                  <a:cubicBezTo>
                    <a:pt x="122" y="351"/>
                    <a:pt x="117" y="349"/>
                    <a:pt x="118" y="359"/>
                  </a:cubicBezTo>
                  <a:cubicBezTo>
                    <a:pt x="119" y="369"/>
                    <a:pt x="125" y="368"/>
                    <a:pt x="126" y="371"/>
                  </a:cubicBezTo>
                  <a:cubicBezTo>
                    <a:pt x="127" y="374"/>
                    <a:pt x="130" y="382"/>
                    <a:pt x="122" y="378"/>
                  </a:cubicBezTo>
                  <a:cubicBezTo>
                    <a:pt x="114" y="374"/>
                    <a:pt x="113" y="365"/>
                    <a:pt x="108" y="368"/>
                  </a:cubicBezTo>
                  <a:cubicBezTo>
                    <a:pt x="103" y="371"/>
                    <a:pt x="97" y="378"/>
                    <a:pt x="102" y="381"/>
                  </a:cubicBezTo>
                  <a:cubicBezTo>
                    <a:pt x="107" y="384"/>
                    <a:pt x="122" y="380"/>
                    <a:pt x="119" y="386"/>
                  </a:cubicBezTo>
                  <a:cubicBezTo>
                    <a:pt x="116" y="392"/>
                    <a:pt x="126" y="395"/>
                    <a:pt x="111" y="393"/>
                  </a:cubicBezTo>
                  <a:cubicBezTo>
                    <a:pt x="96" y="391"/>
                    <a:pt x="92" y="391"/>
                    <a:pt x="92" y="391"/>
                  </a:cubicBezTo>
                  <a:cubicBezTo>
                    <a:pt x="92" y="391"/>
                    <a:pt x="94" y="385"/>
                    <a:pt x="88" y="390"/>
                  </a:cubicBezTo>
                  <a:cubicBezTo>
                    <a:pt x="82" y="395"/>
                    <a:pt x="84" y="404"/>
                    <a:pt x="84" y="404"/>
                  </a:cubicBezTo>
                  <a:cubicBezTo>
                    <a:pt x="84" y="404"/>
                    <a:pt x="55" y="391"/>
                    <a:pt x="59" y="399"/>
                  </a:cubicBezTo>
                  <a:cubicBezTo>
                    <a:pt x="63" y="407"/>
                    <a:pt x="85" y="412"/>
                    <a:pt x="85" y="412"/>
                  </a:cubicBezTo>
                  <a:cubicBezTo>
                    <a:pt x="72" y="426"/>
                    <a:pt x="72" y="426"/>
                    <a:pt x="72" y="426"/>
                  </a:cubicBezTo>
                  <a:cubicBezTo>
                    <a:pt x="72" y="426"/>
                    <a:pt x="73" y="416"/>
                    <a:pt x="66" y="415"/>
                  </a:cubicBezTo>
                  <a:cubicBezTo>
                    <a:pt x="59" y="414"/>
                    <a:pt x="53" y="422"/>
                    <a:pt x="53" y="422"/>
                  </a:cubicBezTo>
                  <a:cubicBezTo>
                    <a:pt x="40" y="411"/>
                    <a:pt x="40" y="411"/>
                    <a:pt x="40" y="411"/>
                  </a:cubicBezTo>
                  <a:cubicBezTo>
                    <a:pt x="34" y="420"/>
                    <a:pt x="34" y="420"/>
                    <a:pt x="34" y="420"/>
                  </a:cubicBezTo>
                  <a:cubicBezTo>
                    <a:pt x="43" y="423"/>
                    <a:pt x="43" y="423"/>
                    <a:pt x="43" y="423"/>
                  </a:cubicBezTo>
                  <a:cubicBezTo>
                    <a:pt x="20" y="422"/>
                    <a:pt x="20" y="422"/>
                    <a:pt x="20" y="422"/>
                  </a:cubicBezTo>
                  <a:cubicBezTo>
                    <a:pt x="19" y="431"/>
                    <a:pt x="19" y="431"/>
                    <a:pt x="19" y="431"/>
                  </a:cubicBezTo>
                  <a:cubicBezTo>
                    <a:pt x="52" y="433"/>
                    <a:pt x="52" y="433"/>
                    <a:pt x="52" y="433"/>
                  </a:cubicBezTo>
                  <a:cubicBezTo>
                    <a:pt x="35" y="438"/>
                    <a:pt x="35" y="438"/>
                    <a:pt x="35" y="438"/>
                  </a:cubicBezTo>
                  <a:cubicBezTo>
                    <a:pt x="11" y="432"/>
                    <a:pt x="11" y="432"/>
                    <a:pt x="11" y="432"/>
                  </a:cubicBezTo>
                  <a:cubicBezTo>
                    <a:pt x="11" y="432"/>
                    <a:pt x="3" y="439"/>
                    <a:pt x="3" y="445"/>
                  </a:cubicBezTo>
                  <a:cubicBezTo>
                    <a:pt x="3" y="451"/>
                    <a:pt x="21" y="452"/>
                    <a:pt x="21" y="452"/>
                  </a:cubicBezTo>
                  <a:cubicBezTo>
                    <a:pt x="10" y="457"/>
                    <a:pt x="10" y="457"/>
                    <a:pt x="10" y="457"/>
                  </a:cubicBezTo>
                  <a:cubicBezTo>
                    <a:pt x="10" y="457"/>
                    <a:pt x="1" y="464"/>
                    <a:pt x="10" y="465"/>
                  </a:cubicBezTo>
                  <a:cubicBezTo>
                    <a:pt x="19" y="466"/>
                    <a:pt x="42" y="466"/>
                    <a:pt x="42" y="466"/>
                  </a:cubicBezTo>
                  <a:cubicBezTo>
                    <a:pt x="52" y="472"/>
                    <a:pt x="52" y="472"/>
                    <a:pt x="52" y="472"/>
                  </a:cubicBezTo>
                  <a:cubicBezTo>
                    <a:pt x="63" y="464"/>
                    <a:pt x="63" y="464"/>
                    <a:pt x="63" y="464"/>
                  </a:cubicBezTo>
                  <a:cubicBezTo>
                    <a:pt x="71" y="472"/>
                    <a:pt x="71" y="472"/>
                    <a:pt x="71" y="472"/>
                  </a:cubicBezTo>
                  <a:cubicBezTo>
                    <a:pt x="89" y="463"/>
                    <a:pt x="89" y="463"/>
                    <a:pt x="89" y="463"/>
                  </a:cubicBezTo>
                  <a:cubicBezTo>
                    <a:pt x="89" y="463"/>
                    <a:pt x="86" y="476"/>
                    <a:pt x="80" y="476"/>
                  </a:cubicBezTo>
                  <a:cubicBezTo>
                    <a:pt x="74" y="476"/>
                    <a:pt x="62" y="475"/>
                    <a:pt x="62" y="475"/>
                  </a:cubicBezTo>
                  <a:cubicBezTo>
                    <a:pt x="44" y="476"/>
                    <a:pt x="44" y="476"/>
                    <a:pt x="44" y="476"/>
                  </a:cubicBezTo>
                  <a:cubicBezTo>
                    <a:pt x="44" y="476"/>
                    <a:pt x="28" y="474"/>
                    <a:pt x="25" y="474"/>
                  </a:cubicBezTo>
                  <a:cubicBezTo>
                    <a:pt x="22" y="474"/>
                    <a:pt x="0" y="476"/>
                    <a:pt x="0" y="476"/>
                  </a:cubicBezTo>
                  <a:cubicBezTo>
                    <a:pt x="0" y="476"/>
                    <a:pt x="2" y="488"/>
                    <a:pt x="7" y="490"/>
                  </a:cubicBezTo>
                  <a:cubicBezTo>
                    <a:pt x="12" y="492"/>
                    <a:pt x="20" y="492"/>
                    <a:pt x="20" y="492"/>
                  </a:cubicBezTo>
                  <a:cubicBezTo>
                    <a:pt x="20" y="492"/>
                    <a:pt x="7" y="502"/>
                    <a:pt x="13" y="509"/>
                  </a:cubicBezTo>
                  <a:cubicBezTo>
                    <a:pt x="19" y="516"/>
                    <a:pt x="29" y="517"/>
                    <a:pt x="29" y="517"/>
                  </a:cubicBezTo>
                  <a:cubicBezTo>
                    <a:pt x="47" y="506"/>
                    <a:pt x="47" y="506"/>
                    <a:pt x="47" y="506"/>
                  </a:cubicBezTo>
                  <a:cubicBezTo>
                    <a:pt x="65" y="502"/>
                    <a:pt x="65" y="502"/>
                    <a:pt x="65" y="502"/>
                  </a:cubicBezTo>
                  <a:cubicBezTo>
                    <a:pt x="59" y="516"/>
                    <a:pt x="59" y="516"/>
                    <a:pt x="59" y="516"/>
                  </a:cubicBezTo>
                  <a:cubicBezTo>
                    <a:pt x="49" y="513"/>
                    <a:pt x="49" y="513"/>
                    <a:pt x="49" y="513"/>
                  </a:cubicBezTo>
                  <a:cubicBezTo>
                    <a:pt x="43" y="525"/>
                    <a:pt x="43" y="525"/>
                    <a:pt x="43" y="525"/>
                  </a:cubicBezTo>
                  <a:cubicBezTo>
                    <a:pt x="43" y="525"/>
                    <a:pt x="13" y="519"/>
                    <a:pt x="17" y="526"/>
                  </a:cubicBezTo>
                  <a:cubicBezTo>
                    <a:pt x="21" y="533"/>
                    <a:pt x="30" y="536"/>
                    <a:pt x="30" y="536"/>
                  </a:cubicBezTo>
                  <a:cubicBezTo>
                    <a:pt x="14" y="544"/>
                    <a:pt x="14" y="544"/>
                    <a:pt x="14" y="544"/>
                  </a:cubicBezTo>
                  <a:cubicBezTo>
                    <a:pt x="2" y="544"/>
                    <a:pt x="2" y="544"/>
                    <a:pt x="2" y="544"/>
                  </a:cubicBezTo>
                  <a:cubicBezTo>
                    <a:pt x="2" y="544"/>
                    <a:pt x="4" y="556"/>
                    <a:pt x="7" y="556"/>
                  </a:cubicBezTo>
                  <a:cubicBezTo>
                    <a:pt x="10" y="556"/>
                    <a:pt x="42" y="557"/>
                    <a:pt x="42" y="557"/>
                  </a:cubicBezTo>
                  <a:cubicBezTo>
                    <a:pt x="33" y="571"/>
                    <a:pt x="33" y="571"/>
                    <a:pt x="33" y="571"/>
                  </a:cubicBezTo>
                  <a:cubicBezTo>
                    <a:pt x="41" y="573"/>
                    <a:pt x="41" y="573"/>
                    <a:pt x="41" y="573"/>
                  </a:cubicBezTo>
                  <a:cubicBezTo>
                    <a:pt x="36" y="585"/>
                    <a:pt x="36" y="585"/>
                    <a:pt x="36" y="585"/>
                  </a:cubicBezTo>
                  <a:cubicBezTo>
                    <a:pt x="36" y="585"/>
                    <a:pt x="10" y="572"/>
                    <a:pt x="11" y="580"/>
                  </a:cubicBezTo>
                  <a:cubicBezTo>
                    <a:pt x="12" y="588"/>
                    <a:pt x="23" y="599"/>
                    <a:pt x="23" y="599"/>
                  </a:cubicBezTo>
                  <a:cubicBezTo>
                    <a:pt x="55" y="613"/>
                    <a:pt x="55" y="613"/>
                    <a:pt x="55" y="613"/>
                  </a:cubicBezTo>
                  <a:cubicBezTo>
                    <a:pt x="55" y="613"/>
                    <a:pt x="48" y="618"/>
                    <a:pt x="55" y="621"/>
                  </a:cubicBezTo>
                  <a:cubicBezTo>
                    <a:pt x="62" y="624"/>
                    <a:pt x="83" y="619"/>
                    <a:pt x="83" y="619"/>
                  </a:cubicBezTo>
                  <a:cubicBezTo>
                    <a:pt x="83" y="619"/>
                    <a:pt x="86" y="628"/>
                    <a:pt x="103" y="622"/>
                  </a:cubicBezTo>
                  <a:cubicBezTo>
                    <a:pt x="120" y="616"/>
                    <a:pt x="148" y="591"/>
                    <a:pt x="148" y="591"/>
                  </a:cubicBezTo>
                  <a:cubicBezTo>
                    <a:pt x="172" y="572"/>
                    <a:pt x="172" y="572"/>
                    <a:pt x="172" y="572"/>
                  </a:cubicBezTo>
                  <a:cubicBezTo>
                    <a:pt x="172" y="572"/>
                    <a:pt x="183" y="577"/>
                    <a:pt x="193" y="568"/>
                  </a:cubicBezTo>
                  <a:cubicBezTo>
                    <a:pt x="203" y="559"/>
                    <a:pt x="193" y="540"/>
                    <a:pt x="193" y="540"/>
                  </a:cubicBezTo>
                  <a:cubicBezTo>
                    <a:pt x="205" y="538"/>
                    <a:pt x="205" y="538"/>
                    <a:pt x="205" y="538"/>
                  </a:cubicBezTo>
                  <a:cubicBezTo>
                    <a:pt x="205" y="538"/>
                    <a:pt x="192" y="555"/>
                    <a:pt x="207" y="560"/>
                  </a:cubicBezTo>
                  <a:cubicBezTo>
                    <a:pt x="222" y="565"/>
                    <a:pt x="233" y="567"/>
                    <a:pt x="233" y="567"/>
                  </a:cubicBezTo>
                  <a:cubicBezTo>
                    <a:pt x="247" y="580"/>
                    <a:pt x="247" y="580"/>
                    <a:pt x="247" y="580"/>
                  </a:cubicBezTo>
                  <a:cubicBezTo>
                    <a:pt x="247" y="580"/>
                    <a:pt x="253" y="569"/>
                    <a:pt x="255" y="564"/>
                  </a:cubicBezTo>
                  <a:cubicBezTo>
                    <a:pt x="257" y="559"/>
                    <a:pt x="251" y="558"/>
                    <a:pt x="248" y="550"/>
                  </a:cubicBezTo>
                  <a:cubicBezTo>
                    <a:pt x="245" y="542"/>
                    <a:pt x="254" y="539"/>
                    <a:pt x="254" y="539"/>
                  </a:cubicBezTo>
                  <a:cubicBezTo>
                    <a:pt x="254" y="539"/>
                    <a:pt x="254" y="535"/>
                    <a:pt x="252" y="529"/>
                  </a:cubicBezTo>
                  <a:cubicBezTo>
                    <a:pt x="250" y="523"/>
                    <a:pt x="264" y="529"/>
                    <a:pt x="269" y="529"/>
                  </a:cubicBezTo>
                  <a:cubicBezTo>
                    <a:pt x="274" y="529"/>
                    <a:pt x="277" y="524"/>
                    <a:pt x="277" y="524"/>
                  </a:cubicBezTo>
                  <a:cubicBezTo>
                    <a:pt x="277" y="507"/>
                    <a:pt x="277" y="507"/>
                    <a:pt x="277" y="507"/>
                  </a:cubicBezTo>
                  <a:cubicBezTo>
                    <a:pt x="284" y="507"/>
                    <a:pt x="284" y="507"/>
                    <a:pt x="284" y="507"/>
                  </a:cubicBezTo>
                  <a:cubicBezTo>
                    <a:pt x="284" y="507"/>
                    <a:pt x="280" y="498"/>
                    <a:pt x="277" y="495"/>
                  </a:cubicBezTo>
                  <a:cubicBezTo>
                    <a:pt x="274" y="492"/>
                    <a:pt x="268" y="475"/>
                    <a:pt x="268" y="475"/>
                  </a:cubicBezTo>
                  <a:cubicBezTo>
                    <a:pt x="283" y="472"/>
                    <a:pt x="283" y="472"/>
                    <a:pt x="283" y="472"/>
                  </a:cubicBezTo>
                  <a:cubicBezTo>
                    <a:pt x="283" y="472"/>
                    <a:pt x="290" y="466"/>
                    <a:pt x="292" y="459"/>
                  </a:cubicBezTo>
                  <a:cubicBezTo>
                    <a:pt x="294" y="452"/>
                    <a:pt x="275" y="446"/>
                    <a:pt x="275" y="446"/>
                  </a:cubicBezTo>
                  <a:cubicBezTo>
                    <a:pt x="275" y="446"/>
                    <a:pt x="267" y="439"/>
                    <a:pt x="266" y="432"/>
                  </a:cubicBezTo>
                  <a:cubicBezTo>
                    <a:pt x="265" y="425"/>
                    <a:pt x="271" y="418"/>
                    <a:pt x="272" y="413"/>
                  </a:cubicBezTo>
                  <a:cubicBezTo>
                    <a:pt x="273" y="408"/>
                    <a:pt x="262" y="401"/>
                    <a:pt x="262" y="401"/>
                  </a:cubicBezTo>
                  <a:cubicBezTo>
                    <a:pt x="262" y="401"/>
                    <a:pt x="256" y="393"/>
                    <a:pt x="254" y="388"/>
                  </a:cubicBezTo>
                  <a:cubicBezTo>
                    <a:pt x="252" y="383"/>
                    <a:pt x="261" y="381"/>
                    <a:pt x="267" y="375"/>
                  </a:cubicBezTo>
                  <a:cubicBezTo>
                    <a:pt x="273" y="369"/>
                    <a:pt x="255" y="369"/>
                    <a:pt x="255" y="366"/>
                  </a:cubicBezTo>
                  <a:cubicBezTo>
                    <a:pt x="255" y="363"/>
                    <a:pt x="261" y="358"/>
                    <a:pt x="261" y="358"/>
                  </a:cubicBezTo>
                  <a:cubicBezTo>
                    <a:pt x="266" y="352"/>
                    <a:pt x="266" y="352"/>
                    <a:pt x="266" y="352"/>
                  </a:cubicBezTo>
                  <a:cubicBezTo>
                    <a:pt x="266" y="352"/>
                    <a:pt x="272" y="347"/>
                    <a:pt x="279" y="342"/>
                  </a:cubicBezTo>
                  <a:cubicBezTo>
                    <a:pt x="286" y="337"/>
                    <a:pt x="301" y="325"/>
                    <a:pt x="301" y="325"/>
                  </a:cubicBezTo>
                  <a:cubicBezTo>
                    <a:pt x="301" y="325"/>
                    <a:pt x="328" y="330"/>
                    <a:pt x="332" y="321"/>
                  </a:cubicBezTo>
                  <a:cubicBezTo>
                    <a:pt x="336" y="312"/>
                    <a:pt x="315" y="302"/>
                    <a:pt x="315" y="302"/>
                  </a:cubicBezTo>
                  <a:cubicBezTo>
                    <a:pt x="315" y="302"/>
                    <a:pt x="324" y="296"/>
                    <a:pt x="329" y="292"/>
                  </a:cubicBezTo>
                  <a:cubicBezTo>
                    <a:pt x="334" y="288"/>
                    <a:pt x="344" y="276"/>
                    <a:pt x="344" y="276"/>
                  </a:cubicBezTo>
                  <a:cubicBezTo>
                    <a:pt x="348" y="247"/>
                    <a:pt x="348" y="247"/>
                    <a:pt x="348" y="247"/>
                  </a:cubicBezTo>
                  <a:cubicBezTo>
                    <a:pt x="351" y="242"/>
                    <a:pt x="351" y="242"/>
                    <a:pt x="351" y="242"/>
                  </a:cubicBezTo>
                  <a:cubicBezTo>
                    <a:pt x="349" y="226"/>
                    <a:pt x="349" y="226"/>
                    <a:pt x="349" y="226"/>
                  </a:cubicBezTo>
                  <a:cubicBezTo>
                    <a:pt x="363" y="233"/>
                    <a:pt x="363" y="233"/>
                    <a:pt x="363" y="233"/>
                  </a:cubicBezTo>
                  <a:cubicBezTo>
                    <a:pt x="363" y="233"/>
                    <a:pt x="372" y="228"/>
                    <a:pt x="379" y="226"/>
                  </a:cubicBezTo>
                  <a:cubicBezTo>
                    <a:pt x="386" y="224"/>
                    <a:pt x="372" y="210"/>
                    <a:pt x="372" y="210"/>
                  </a:cubicBezTo>
                  <a:cubicBezTo>
                    <a:pt x="386" y="209"/>
                    <a:pt x="386" y="209"/>
                    <a:pt x="386" y="209"/>
                  </a:cubicBezTo>
                  <a:cubicBezTo>
                    <a:pt x="386" y="209"/>
                    <a:pt x="388" y="202"/>
                    <a:pt x="394" y="197"/>
                  </a:cubicBezTo>
                  <a:cubicBezTo>
                    <a:pt x="400" y="192"/>
                    <a:pt x="405" y="191"/>
                    <a:pt x="405" y="191"/>
                  </a:cubicBezTo>
                  <a:cubicBezTo>
                    <a:pt x="410" y="181"/>
                    <a:pt x="410" y="181"/>
                    <a:pt x="410" y="181"/>
                  </a:cubicBezTo>
                  <a:cubicBezTo>
                    <a:pt x="410" y="181"/>
                    <a:pt x="399" y="173"/>
                    <a:pt x="398" y="169"/>
                  </a:cubicBezTo>
                  <a:cubicBezTo>
                    <a:pt x="397" y="165"/>
                    <a:pt x="414" y="157"/>
                    <a:pt x="414" y="157"/>
                  </a:cubicBezTo>
                  <a:cubicBezTo>
                    <a:pt x="423" y="147"/>
                    <a:pt x="423" y="147"/>
                    <a:pt x="423" y="147"/>
                  </a:cubicBezTo>
                  <a:cubicBezTo>
                    <a:pt x="449" y="143"/>
                    <a:pt x="449" y="143"/>
                    <a:pt x="449" y="143"/>
                  </a:cubicBezTo>
                  <a:cubicBezTo>
                    <a:pt x="449" y="143"/>
                    <a:pt x="464" y="143"/>
                    <a:pt x="467" y="138"/>
                  </a:cubicBezTo>
                  <a:cubicBezTo>
                    <a:pt x="470" y="133"/>
                    <a:pt x="460" y="122"/>
                    <a:pt x="468" y="116"/>
                  </a:cubicBezTo>
                  <a:cubicBezTo>
                    <a:pt x="476" y="110"/>
                    <a:pt x="476" y="123"/>
                    <a:pt x="476" y="123"/>
                  </a:cubicBezTo>
                  <a:cubicBezTo>
                    <a:pt x="495" y="119"/>
                    <a:pt x="495" y="119"/>
                    <a:pt x="495" y="119"/>
                  </a:cubicBezTo>
                  <a:cubicBezTo>
                    <a:pt x="508" y="123"/>
                    <a:pt x="508" y="123"/>
                    <a:pt x="508" y="123"/>
                  </a:cubicBezTo>
                  <a:cubicBezTo>
                    <a:pt x="517" y="123"/>
                    <a:pt x="517" y="123"/>
                    <a:pt x="517" y="123"/>
                  </a:cubicBezTo>
                  <a:cubicBezTo>
                    <a:pt x="517" y="123"/>
                    <a:pt x="528" y="129"/>
                    <a:pt x="536" y="127"/>
                  </a:cubicBezTo>
                  <a:cubicBezTo>
                    <a:pt x="544" y="125"/>
                    <a:pt x="531" y="119"/>
                    <a:pt x="531" y="114"/>
                  </a:cubicBezTo>
                  <a:cubicBezTo>
                    <a:pt x="531" y="109"/>
                    <a:pt x="538" y="112"/>
                    <a:pt x="538" y="112"/>
                  </a:cubicBezTo>
                  <a:cubicBezTo>
                    <a:pt x="537" y="98"/>
                    <a:pt x="537" y="98"/>
                    <a:pt x="537" y="98"/>
                  </a:cubicBezTo>
                  <a:cubicBezTo>
                    <a:pt x="557" y="99"/>
                    <a:pt x="557" y="99"/>
                    <a:pt x="557" y="99"/>
                  </a:cubicBezTo>
                  <a:cubicBezTo>
                    <a:pt x="555" y="97"/>
                    <a:pt x="554" y="96"/>
                    <a:pt x="554" y="96"/>
                  </a:cubicBezTo>
                  <a:cubicBezTo>
                    <a:pt x="556" y="91"/>
                    <a:pt x="556" y="91"/>
                    <a:pt x="556" y="91"/>
                  </a:cubicBezTo>
                  <a:cubicBezTo>
                    <a:pt x="568" y="96"/>
                    <a:pt x="568" y="96"/>
                    <a:pt x="568" y="96"/>
                  </a:cubicBezTo>
                  <a:cubicBezTo>
                    <a:pt x="570" y="87"/>
                    <a:pt x="570" y="87"/>
                    <a:pt x="570" y="87"/>
                  </a:cubicBezTo>
                  <a:cubicBezTo>
                    <a:pt x="570" y="87"/>
                    <a:pt x="577" y="84"/>
                    <a:pt x="581" y="84"/>
                  </a:cubicBezTo>
                  <a:cubicBezTo>
                    <a:pt x="585" y="84"/>
                    <a:pt x="594" y="98"/>
                    <a:pt x="594" y="98"/>
                  </a:cubicBezTo>
                  <a:cubicBezTo>
                    <a:pt x="603" y="99"/>
                    <a:pt x="603" y="99"/>
                    <a:pt x="603" y="99"/>
                  </a:cubicBezTo>
                  <a:cubicBezTo>
                    <a:pt x="603" y="99"/>
                    <a:pt x="604" y="109"/>
                    <a:pt x="618" y="110"/>
                  </a:cubicBezTo>
                  <a:cubicBezTo>
                    <a:pt x="632" y="111"/>
                    <a:pt x="632" y="112"/>
                    <a:pt x="632" y="112"/>
                  </a:cubicBezTo>
                  <a:cubicBezTo>
                    <a:pt x="632" y="112"/>
                    <a:pt x="632" y="112"/>
                    <a:pt x="642" y="115"/>
                  </a:cubicBezTo>
                  <a:cubicBezTo>
                    <a:pt x="652" y="118"/>
                    <a:pt x="661" y="110"/>
                    <a:pt x="661" y="110"/>
                  </a:cubicBezTo>
                  <a:cubicBezTo>
                    <a:pt x="661" y="110"/>
                    <a:pt x="672" y="106"/>
                    <a:pt x="677" y="107"/>
                  </a:cubicBezTo>
                  <a:cubicBezTo>
                    <a:pt x="682" y="108"/>
                    <a:pt x="694" y="116"/>
                    <a:pt x="702" y="116"/>
                  </a:cubicBezTo>
                  <a:cubicBezTo>
                    <a:pt x="710" y="116"/>
                    <a:pt x="704" y="106"/>
                    <a:pt x="711" y="101"/>
                  </a:cubicBezTo>
                  <a:cubicBezTo>
                    <a:pt x="718" y="96"/>
                    <a:pt x="727" y="101"/>
                    <a:pt x="727" y="101"/>
                  </a:cubicBezTo>
                  <a:cubicBezTo>
                    <a:pt x="727" y="101"/>
                    <a:pt x="728" y="85"/>
                    <a:pt x="727" y="81"/>
                  </a:cubicBezTo>
                  <a:cubicBezTo>
                    <a:pt x="726" y="77"/>
                    <a:pt x="730" y="64"/>
                    <a:pt x="730" y="64"/>
                  </a:cubicBezTo>
                  <a:cubicBezTo>
                    <a:pt x="730" y="64"/>
                    <a:pt x="747" y="55"/>
                    <a:pt x="752" y="56"/>
                  </a:cubicBezTo>
                  <a:cubicBezTo>
                    <a:pt x="757" y="57"/>
                    <a:pt x="768" y="58"/>
                    <a:pt x="768" y="58"/>
                  </a:cubicBezTo>
                  <a:cubicBezTo>
                    <a:pt x="768" y="58"/>
                    <a:pt x="779" y="51"/>
                    <a:pt x="794" y="52"/>
                  </a:cubicBezTo>
                  <a:cubicBezTo>
                    <a:pt x="809" y="53"/>
                    <a:pt x="802" y="59"/>
                    <a:pt x="802" y="59"/>
                  </a:cubicBezTo>
                  <a:cubicBezTo>
                    <a:pt x="825" y="64"/>
                    <a:pt x="825" y="64"/>
                    <a:pt x="825" y="64"/>
                  </a:cubicBezTo>
                  <a:cubicBezTo>
                    <a:pt x="825" y="64"/>
                    <a:pt x="839" y="65"/>
                    <a:pt x="843" y="82"/>
                  </a:cubicBezTo>
                  <a:cubicBezTo>
                    <a:pt x="847" y="99"/>
                    <a:pt x="834" y="87"/>
                    <a:pt x="834" y="87"/>
                  </a:cubicBezTo>
                  <a:cubicBezTo>
                    <a:pt x="833" y="95"/>
                    <a:pt x="833" y="95"/>
                    <a:pt x="833" y="95"/>
                  </a:cubicBezTo>
                  <a:cubicBezTo>
                    <a:pt x="836" y="97"/>
                    <a:pt x="840" y="98"/>
                    <a:pt x="845" y="98"/>
                  </a:cubicBezTo>
                  <a:cubicBezTo>
                    <a:pt x="854" y="97"/>
                    <a:pt x="855" y="83"/>
                    <a:pt x="855" y="83"/>
                  </a:cubicBezTo>
                  <a:cubicBezTo>
                    <a:pt x="870" y="82"/>
                    <a:pt x="870" y="82"/>
                    <a:pt x="870" y="82"/>
                  </a:cubicBezTo>
                  <a:cubicBezTo>
                    <a:pt x="874" y="74"/>
                    <a:pt x="874" y="74"/>
                    <a:pt x="874" y="74"/>
                  </a:cubicBezTo>
                  <a:cubicBezTo>
                    <a:pt x="874" y="74"/>
                    <a:pt x="873" y="77"/>
                    <a:pt x="891" y="74"/>
                  </a:cubicBezTo>
                  <a:cubicBezTo>
                    <a:pt x="899" y="73"/>
                    <a:pt x="903" y="69"/>
                    <a:pt x="905" y="66"/>
                  </a:cubicBezTo>
                  <a:lnTo>
                    <a:pt x="901" y="66"/>
                  </a:lnTo>
                  <a:close/>
                  <a:moveTo>
                    <a:pt x="372" y="107"/>
                  </a:moveTo>
                  <a:cubicBezTo>
                    <a:pt x="357" y="116"/>
                    <a:pt x="357" y="116"/>
                    <a:pt x="357" y="116"/>
                  </a:cubicBezTo>
                  <a:cubicBezTo>
                    <a:pt x="362" y="129"/>
                    <a:pt x="362" y="129"/>
                    <a:pt x="362" y="129"/>
                  </a:cubicBezTo>
                  <a:cubicBezTo>
                    <a:pt x="380" y="130"/>
                    <a:pt x="380" y="130"/>
                    <a:pt x="380" y="130"/>
                  </a:cubicBezTo>
                  <a:cubicBezTo>
                    <a:pt x="376" y="117"/>
                    <a:pt x="376" y="117"/>
                    <a:pt x="376" y="117"/>
                  </a:cubicBezTo>
                  <a:lnTo>
                    <a:pt x="372" y="107"/>
                  </a:lnTo>
                  <a:close/>
                  <a:moveTo>
                    <a:pt x="346" y="101"/>
                  </a:moveTo>
                  <a:cubicBezTo>
                    <a:pt x="335" y="105"/>
                    <a:pt x="339" y="122"/>
                    <a:pt x="339" y="122"/>
                  </a:cubicBezTo>
                  <a:cubicBezTo>
                    <a:pt x="351" y="134"/>
                    <a:pt x="351" y="134"/>
                    <a:pt x="351" y="134"/>
                  </a:cubicBezTo>
                  <a:cubicBezTo>
                    <a:pt x="351" y="134"/>
                    <a:pt x="357" y="97"/>
                    <a:pt x="346" y="101"/>
                  </a:cubicBezTo>
                  <a:close/>
                  <a:moveTo>
                    <a:pt x="403" y="116"/>
                  </a:moveTo>
                  <a:cubicBezTo>
                    <a:pt x="412" y="111"/>
                    <a:pt x="427" y="108"/>
                    <a:pt x="408" y="104"/>
                  </a:cubicBezTo>
                  <a:cubicBezTo>
                    <a:pt x="389" y="101"/>
                    <a:pt x="380" y="112"/>
                    <a:pt x="380" y="112"/>
                  </a:cubicBezTo>
                  <a:cubicBezTo>
                    <a:pt x="386" y="119"/>
                    <a:pt x="386" y="119"/>
                    <a:pt x="386" y="119"/>
                  </a:cubicBezTo>
                  <a:lnTo>
                    <a:pt x="403" y="116"/>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9" name="Freeform 38">
              <a:extLst>
                <a:ext uri="{FF2B5EF4-FFF2-40B4-BE49-F238E27FC236}">
                  <a16:creationId xmlns:a16="http://schemas.microsoft.com/office/drawing/2014/main" id="{72A96BD8-423D-4E27-A172-941D2E35AECE}"/>
                </a:ext>
              </a:extLst>
            </p:cNvPr>
            <p:cNvSpPr>
              <a:spLocks noEditPoints="1"/>
            </p:cNvSpPr>
            <p:nvPr/>
          </p:nvSpPr>
          <p:spPr bwMode="auto">
            <a:xfrm>
              <a:off x="2281678" y="3894050"/>
              <a:ext cx="1403444" cy="981204"/>
            </a:xfrm>
            <a:custGeom>
              <a:avLst/>
              <a:gdLst>
                <a:gd name="T0" fmla="*/ 527 w 591"/>
                <a:gd name="T1" fmla="*/ 205 h 413"/>
                <a:gd name="T2" fmla="*/ 511 w 591"/>
                <a:gd name="T3" fmla="*/ 226 h 413"/>
                <a:gd name="T4" fmla="*/ 531 w 591"/>
                <a:gd name="T5" fmla="*/ 237 h 413"/>
                <a:gd name="T6" fmla="*/ 536 w 591"/>
                <a:gd name="T7" fmla="*/ 212 h 413"/>
                <a:gd name="T8" fmla="*/ 461 w 591"/>
                <a:gd name="T9" fmla="*/ 249 h 413"/>
                <a:gd name="T10" fmla="*/ 560 w 591"/>
                <a:gd name="T11" fmla="*/ 198 h 413"/>
                <a:gd name="T12" fmla="*/ 560 w 591"/>
                <a:gd name="T13" fmla="*/ 198 h 413"/>
                <a:gd name="T14" fmla="*/ 534 w 591"/>
                <a:gd name="T15" fmla="*/ 86 h 413"/>
                <a:gd name="T16" fmla="*/ 528 w 591"/>
                <a:gd name="T17" fmla="*/ 67 h 413"/>
                <a:gd name="T18" fmla="*/ 514 w 591"/>
                <a:gd name="T19" fmla="*/ 77 h 413"/>
                <a:gd name="T20" fmla="*/ 496 w 591"/>
                <a:gd name="T21" fmla="*/ 70 h 413"/>
                <a:gd name="T22" fmla="*/ 479 w 591"/>
                <a:gd name="T23" fmla="*/ 68 h 413"/>
                <a:gd name="T24" fmla="*/ 459 w 591"/>
                <a:gd name="T25" fmla="*/ 56 h 413"/>
                <a:gd name="T26" fmla="*/ 437 w 591"/>
                <a:gd name="T27" fmla="*/ 48 h 413"/>
                <a:gd name="T28" fmla="*/ 417 w 591"/>
                <a:gd name="T29" fmla="*/ 63 h 413"/>
                <a:gd name="T30" fmla="*/ 395 w 591"/>
                <a:gd name="T31" fmla="*/ 54 h 413"/>
                <a:gd name="T32" fmla="*/ 376 w 591"/>
                <a:gd name="T33" fmla="*/ 51 h 413"/>
                <a:gd name="T34" fmla="*/ 342 w 591"/>
                <a:gd name="T35" fmla="*/ 38 h 413"/>
                <a:gd name="T36" fmla="*/ 327 w 591"/>
                <a:gd name="T37" fmla="*/ 29 h 413"/>
                <a:gd name="T38" fmla="*/ 320 w 591"/>
                <a:gd name="T39" fmla="*/ 23 h 413"/>
                <a:gd name="T40" fmla="*/ 234 w 591"/>
                <a:gd name="T41" fmla="*/ 22 h 413"/>
                <a:gd name="T42" fmla="*/ 156 w 591"/>
                <a:gd name="T43" fmla="*/ 7 h 413"/>
                <a:gd name="T44" fmla="*/ 91 w 591"/>
                <a:gd name="T45" fmla="*/ 8 h 413"/>
                <a:gd name="T46" fmla="*/ 49 w 591"/>
                <a:gd name="T47" fmla="*/ 18 h 413"/>
                <a:gd name="T48" fmla="*/ 21 w 591"/>
                <a:gd name="T49" fmla="*/ 67 h 413"/>
                <a:gd name="T50" fmla="*/ 16 w 591"/>
                <a:gd name="T51" fmla="*/ 101 h 413"/>
                <a:gd name="T52" fmla="*/ 50 w 591"/>
                <a:gd name="T53" fmla="*/ 94 h 413"/>
                <a:gd name="T54" fmla="*/ 61 w 591"/>
                <a:gd name="T55" fmla="*/ 99 h 413"/>
                <a:gd name="T56" fmla="*/ 85 w 591"/>
                <a:gd name="T57" fmla="*/ 96 h 413"/>
                <a:gd name="T58" fmla="*/ 115 w 591"/>
                <a:gd name="T59" fmla="*/ 108 h 413"/>
                <a:gd name="T60" fmla="*/ 94 w 591"/>
                <a:gd name="T61" fmla="*/ 144 h 413"/>
                <a:gd name="T62" fmla="*/ 96 w 591"/>
                <a:gd name="T63" fmla="*/ 181 h 413"/>
                <a:gd name="T64" fmla="*/ 94 w 591"/>
                <a:gd name="T65" fmla="*/ 205 h 413"/>
                <a:gd name="T66" fmla="*/ 61 w 591"/>
                <a:gd name="T67" fmla="*/ 217 h 413"/>
                <a:gd name="T68" fmla="*/ 77 w 591"/>
                <a:gd name="T69" fmla="*/ 240 h 413"/>
                <a:gd name="T70" fmla="*/ 66 w 591"/>
                <a:gd name="T71" fmla="*/ 276 h 413"/>
                <a:gd name="T72" fmla="*/ 84 w 591"/>
                <a:gd name="T73" fmla="*/ 301 h 413"/>
                <a:gd name="T74" fmla="*/ 60 w 591"/>
                <a:gd name="T75" fmla="*/ 325 h 413"/>
                <a:gd name="T76" fmla="*/ 61 w 591"/>
                <a:gd name="T77" fmla="*/ 351 h 413"/>
                <a:gd name="T78" fmla="*/ 81 w 591"/>
                <a:gd name="T79" fmla="*/ 350 h 413"/>
                <a:gd name="T80" fmla="*/ 109 w 591"/>
                <a:gd name="T81" fmla="*/ 365 h 413"/>
                <a:gd name="T82" fmla="*/ 110 w 591"/>
                <a:gd name="T83" fmla="*/ 383 h 413"/>
                <a:gd name="T84" fmla="*/ 136 w 591"/>
                <a:gd name="T85" fmla="*/ 413 h 413"/>
                <a:gd name="T86" fmla="*/ 177 w 591"/>
                <a:gd name="T87" fmla="*/ 389 h 413"/>
                <a:gd name="T88" fmla="*/ 235 w 591"/>
                <a:gd name="T89" fmla="*/ 377 h 413"/>
                <a:gd name="T90" fmla="*/ 265 w 591"/>
                <a:gd name="T91" fmla="*/ 378 h 413"/>
                <a:gd name="T92" fmla="*/ 297 w 591"/>
                <a:gd name="T93" fmla="*/ 374 h 413"/>
                <a:gd name="T94" fmla="*/ 331 w 591"/>
                <a:gd name="T95" fmla="*/ 329 h 413"/>
                <a:gd name="T96" fmla="*/ 356 w 591"/>
                <a:gd name="T97" fmla="*/ 315 h 413"/>
                <a:gd name="T98" fmla="*/ 401 w 591"/>
                <a:gd name="T99" fmla="*/ 270 h 413"/>
                <a:gd name="T100" fmla="*/ 385 w 591"/>
                <a:gd name="T101" fmla="*/ 215 h 413"/>
                <a:gd name="T102" fmla="*/ 424 w 591"/>
                <a:gd name="T103" fmla="*/ 172 h 413"/>
                <a:gd name="T104" fmla="*/ 438 w 591"/>
                <a:gd name="T105" fmla="*/ 146 h 413"/>
                <a:gd name="T106" fmla="*/ 514 w 591"/>
                <a:gd name="T107" fmla="*/ 1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8"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6"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0" name="Freeform 39">
              <a:extLst>
                <a:ext uri="{FF2B5EF4-FFF2-40B4-BE49-F238E27FC236}">
                  <a16:creationId xmlns:a16="http://schemas.microsoft.com/office/drawing/2014/main" id="{B8EDDF4E-8EBD-4CB0-A6EF-C406D5F68F24}"/>
                </a:ext>
              </a:extLst>
            </p:cNvPr>
            <p:cNvSpPr>
              <a:spLocks/>
            </p:cNvSpPr>
            <p:nvPr/>
          </p:nvSpPr>
          <p:spPr bwMode="auto">
            <a:xfrm>
              <a:off x="2219347" y="4103159"/>
              <a:ext cx="367951" cy="657487"/>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2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2"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1" name="Freeform 40">
              <a:extLst>
                <a:ext uri="{FF2B5EF4-FFF2-40B4-BE49-F238E27FC236}">
                  <a16:creationId xmlns:a16="http://schemas.microsoft.com/office/drawing/2014/main" id="{8FF50943-9C37-481D-B3A1-5FD09A45C463}"/>
                </a:ext>
              </a:extLst>
            </p:cNvPr>
            <p:cNvSpPr>
              <a:spLocks/>
            </p:cNvSpPr>
            <p:nvPr/>
          </p:nvSpPr>
          <p:spPr bwMode="auto">
            <a:xfrm>
              <a:off x="4105351" y="3979503"/>
              <a:ext cx="109581" cy="216147"/>
            </a:xfrm>
            <a:custGeom>
              <a:avLst/>
              <a:gdLst>
                <a:gd name="T0" fmla="*/ 44 w 46"/>
                <a:gd name="T1" fmla="*/ 24 h 91"/>
                <a:gd name="T2" fmla="*/ 39 w 46"/>
                <a:gd name="T3" fmla="*/ 22 h 91"/>
                <a:gd name="T4" fmla="*/ 41 w 46"/>
                <a:gd name="T5" fmla="*/ 7 h 91"/>
                <a:gd name="T6" fmla="*/ 29 w 46"/>
                <a:gd name="T7" fmla="*/ 18 h 91"/>
                <a:gd name="T8" fmla="*/ 3 w 46"/>
                <a:gd name="T9" fmla="*/ 45 h 91"/>
                <a:gd name="T10" fmla="*/ 13 w 46"/>
                <a:gd name="T11" fmla="*/ 65 h 91"/>
                <a:gd name="T12" fmla="*/ 12 w 46"/>
                <a:gd name="T13" fmla="*/ 83 h 91"/>
                <a:gd name="T14" fmla="*/ 29 w 46"/>
                <a:gd name="T15" fmla="*/ 91 h 91"/>
                <a:gd name="T16" fmla="*/ 39 w 46"/>
                <a:gd name="T17" fmla="*/ 73 h 91"/>
                <a:gd name="T18" fmla="*/ 38 w 46"/>
                <a:gd name="T19" fmla="*/ 59 h 91"/>
                <a:gd name="T20" fmla="*/ 46 w 46"/>
                <a:gd name="T21" fmla="*/ 55 h 91"/>
                <a:gd name="T22" fmla="*/ 44 w 46"/>
                <a:gd name="T23"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91">
                  <a:moveTo>
                    <a:pt x="44" y="24"/>
                  </a:moveTo>
                  <a:cubicBezTo>
                    <a:pt x="39" y="22"/>
                    <a:pt x="39" y="22"/>
                    <a:pt x="39" y="22"/>
                  </a:cubicBezTo>
                  <a:cubicBezTo>
                    <a:pt x="39" y="22"/>
                    <a:pt x="45" y="14"/>
                    <a:pt x="41" y="7"/>
                  </a:cubicBezTo>
                  <a:cubicBezTo>
                    <a:pt x="37" y="0"/>
                    <a:pt x="29" y="18"/>
                    <a:pt x="29" y="18"/>
                  </a:cubicBezTo>
                  <a:cubicBezTo>
                    <a:pt x="29" y="18"/>
                    <a:pt x="0" y="31"/>
                    <a:pt x="3" y="45"/>
                  </a:cubicBezTo>
                  <a:cubicBezTo>
                    <a:pt x="6" y="59"/>
                    <a:pt x="13" y="65"/>
                    <a:pt x="13" y="65"/>
                  </a:cubicBezTo>
                  <a:cubicBezTo>
                    <a:pt x="13" y="65"/>
                    <a:pt x="4" y="76"/>
                    <a:pt x="12" y="83"/>
                  </a:cubicBezTo>
                  <a:cubicBezTo>
                    <a:pt x="20" y="90"/>
                    <a:pt x="29" y="91"/>
                    <a:pt x="29" y="91"/>
                  </a:cubicBezTo>
                  <a:cubicBezTo>
                    <a:pt x="29" y="91"/>
                    <a:pt x="39" y="84"/>
                    <a:pt x="39" y="73"/>
                  </a:cubicBezTo>
                  <a:cubicBezTo>
                    <a:pt x="39" y="62"/>
                    <a:pt x="38" y="59"/>
                    <a:pt x="38" y="59"/>
                  </a:cubicBezTo>
                  <a:cubicBezTo>
                    <a:pt x="46" y="55"/>
                    <a:pt x="46" y="55"/>
                    <a:pt x="46" y="55"/>
                  </a:cubicBezTo>
                  <a:lnTo>
                    <a:pt x="44" y="24"/>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2" name="Freeform 41">
              <a:extLst>
                <a:ext uri="{FF2B5EF4-FFF2-40B4-BE49-F238E27FC236}">
                  <a16:creationId xmlns:a16="http://schemas.microsoft.com/office/drawing/2014/main" id="{DA2B4461-4549-4807-B520-EC2A50FB9D81}"/>
                </a:ext>
              </a:extLst>
            </p:cNvPr>
            <p:cNvSpPr>
              <a:spLocks/>
            </p:cNvSpPr>
            <p:nvPr/>
          </p:nvSpPr>
          <p:spPr bwMode="auto">
            <a:xfrm>
              <a:off x="2775296" y="2977187"/>
              <a:ext cx="1301905" cy="1099834"/>
            </a:xfrm>
            <a:custGeom>
              <a:avLst/>
              <a:gdLst>
                <a:gd name="T0" fmla="*/ 520 w 548"/>
                <a:gd name="T1" fmla="*/ 103 h 463"/>
                <a:gd name="T2" fmla="*/ 496 w 548"/>
                <a:gd name="T3" fmla="*/ 100 h 463"/>
                <a:gd name="T4" fmla="*/ 480 w 548"/>
                <a:gd name="T5" fmla="*/ 87 h 463"/>
                <a:gd name="T6" fmla="*/ 464 w 548"/>
                <a:gd name="T7" fmla="*/ 78 h 463"/>
                <a:gd name="T8" fmla="*/ 450 w 548"/>
                <a:gd name="T9" fmla="*/ 81 h 463"/>
                <a:gd name="T10" fmla="*/ 433 w 548"/>
                <a:gd name="T11" fmla="*/ 77 h 463"/>
                <a:gd name="T12" fmla="*/ 409 w 548"/>
                <a:gd name="T13" fmla="*/ 54 h 463"/>
                <a:gd name="T14" fmla="*/ 384 w 548"/>
                <a:gd name="T15" fmla="*/ 61 h 463"/>
                <a:gd name="T16" fmla="*/ 356 w 548"/>
                <a:gd name="T17" fmla="*/ 37 h 463"/>
                <a:gd name="T18" fmla="*/ 333 w 548"/>
                <a:gd name="T19" fmla="*/ 26 h 463"/>
                <a:gd name="T20" fmla="*/ 328 w 548"/>
                <a:gd name="T21" fmla="*/ 3 h 463"/>
                <a:gd name="T22" fmla="*/ 271 w 548"/>
                <a:gd name="T23" fmla="*/ 12 h 463"/>
                <a:gd name="T24" fmla="*/ 275 w 548"/>
                <a:gd name="T25" fmla="*/ 52 h 463"/>
                <a:gd name="T26" fmla="*/ 217 w 548"/>
                <a:gd name="T27" fmla="*/ 80 h 463"/>
                <a:gd name="T28" fmla="*/ 191 w 548"/>
                <a:gd name="T29" fmla="*/ 97 h 463"/>
                <a:gd name="T30" fmla="*/ 156 w 548"/>
                <a:gd name="T31" fmla="*/ 76 h 463"/>
                <a:gd name="T32" fmla="*/ 148 w 548"/>
                <a:gd name="T33" fmla="*/ 96 h 463"/>
                <a:gd name="T34" fmla="*/ 106 w 548"/>
                <a:gd name="T35" fmla="*/ 125 h 463"/>
                <a:gd name="T36" fmla="*/ 77 w 548"/>
                <a:gd name="T37" fmla="*/ 117 h 463"/>
                <a:gd name="T38" fmla="*/ 12 w 548"/>
                <a:gd name="T39" fmla="*/ 136 h 463"/>
                <a:gd name="T40" fmla="*/ 6 w 548"/>
                <a:gd name="T41" fmla="*/ 161 h 463"/>
                <a:gd name="T42" fmla="*/ 38 w 548"/>
                <a:gd name="T43" fmla="*/ 166 h 463"/>
                <a:gd name="T44" fmla="*/ 90 w 548"/>
                <a:gd name="T45" fmla="*/ 184 h 463"/>
                <a:gd name="T46" fmla="*/ 128 w 548"/>
                <a:gd name="T47" fmla="*/ 199 h 463"/>
                <a:gd name="T48" fmla="*/ 132 w 548"/>
                <a:gd name="T49" fmla="*/ 244 h 463"/>
                <a:gd name="T50" fmla="*/ 151 w 548"/>
                <a:gd name="T51" fmla="*/ 277 h 463"/>
                <a:gd name="T52" fmla="*/ 173 w 548"/>
                <a:gd name="T53" fmla="*/ 320 h 463"/>
                <a:gd name="T54" fmla="*/ 149 w 548"/>
                <a:gd name="T55" fmla="*/ 333 h 463"/>
                <a:gd name="T56" fmla="*/ 118 w 548"/>
                <a:gd name="T57" fmla="*/ 409 h 463"/>
                <a:gd name="T58" fmla="*/ 134 w 548"/>
                <a:gd name="T59" fmla="*/ 414 h 463"/>
                <a:gd name="T60" fmla="*/ 155 w 548"/>
                <a:gd name="T61" fmla="*/ 427 h 463"/>
                <a:gd name="T62" fmla="*/ 182 w 548"/>
                <a:gd name="T63" fmla="*/ 435 h 463"/>
                <a:gd name="T64" fmla="*/ 207 w 548"/>
                <a:gd name="T65" fmla="*/ 441 h 463"/>
                <a:gd name="T66" fmla="*/ 222 w 548"/>
                <a:gd name="T67" fmla="*/ 446 h 463"/>
                <a:gd name="T68" fmla="*/ 242 w 548"/>
                <a:gd name="T69" fmla="*/ 441 h 463"/>
                <a:gd name="T70" fmla="*/ 253 w 548"/>
                <a:gd name="T71" fmla="*/ 446 h 463"/>
                <a:gd name="T72" fmla="*/ 272 w 548"/>
                <a:gd name="T73" fmla="*/ 445 h 463"/>
                <a:gd name="T74" fmla="*/ 278 w 548"/>
                <a:gd name="T75" fmla="*/ 459 h 463"/>
                <a:gd name="T76" fmla="*/ 298 w 548"/>
                <a:gd name="T77" fmla="*/ 463 h 463"/>
                <a:gd name="T78" fmla="*/ 313 w 548"/>
                <a:gd name="T79" fmla="*/ 453 h 463"/>
                <a:gd name="T80" fmla="*/ 319 w 548"/>
                <a:gd name="T81" fmla="*/ 450 h 463"/>
                <a:gd name="T82" fmla="*/ 378 w 548"/>
                <a:gd name="T83" fmla="*/ 397 h 463"/>
                <a:gd name="T84" fmla="*/ 423 w 548"/>
                <a:gd name="T85" fmla="*/ 406 h 463"/>
                <a:gd name="T86" fmla="*/ 476 w 548"/>
                <a:gd name="T87" fmla="*/ 421 h 463"/>
                <a:gd name="T88" fmla="*/ 513 w 548"/>
                <a:gd name="T89" fmla="*/ 388 h 463"/>
                <a:gd name="T90" fmla="*/ 523 w 548"/>
                <a:gd name="T91" fmla="*/ 369 h 463"/>
                <a:gd name="T92" fmla="*/ 503 w 548"/>
                <a:gd name="T93" fmla="*/ 361 h 463"/>
                <a:gd name="T94" fmla="*/ 496 w 548"/>
                <a:gd name="T95" fmla="*/ 335 h 463"/>
                <a:gd name="T96" fmla="*/ 484 w 548"/>
                <a:gd name="T97" fmla="*/ 327 h 463"/>
                <a:gd name="T98" fmla="*/ 487 w 548"/>
                <a:gd name="T99" fmla="*/ 312 h 463"/>
                <a:gd name="T100" fmla="*/ 495 w 548"/>
                <a:gd name="T101" fmla="*/ 289 h 463"/>
                <a:gd name="T102" fmla="*/ 497 w 548"/>
                <a:gd name="T103" fmla="*/ 273 h 463"/>
                <a:gd name="T104" fmla="*/ 491 w 548"/>
                <a:gd name="T105" fmla="*/ 245 h 463"/>
                <a:gd name="T106" fmla="*/ 458 w 548"/>
                <a:gd name="T107" fmla="*/ 259 h 463"/>
                <a:gd name="T108" fmla="*/ 456 w 548"/>
                <a:gd name="T109" fmla="*/ 242 h 463"/>
                <a:gd name="T110" fmla="*/ 477 w 548"/>
                <a:gd name="T111" fmla="*/ 213 h 463"/>
                <a:gd name="T112" fmla="*/ 499 w 548"/>
                <a:gd name="T113" fmla="*/ 198 h 463"/>
                <a:gd name="T114" fmla="*/ 517 w 548"/>
                <a:gd name="T115" fmla="*/ 196 h 463"/>
                <a:gd name="T116" fmla="*/ 520 w 548"/>
                <a:gd name="T117" fmla="*/ 166 h 463"/>
                <a:gd name="T118" fmla="*/ 532 w 548"/>
                <a:gd name="T119" fmla="*/ 128 h 463"/>
                <a:gd name="T120" fmla="*/ 548 w 548"/>
                <a:gd name="T121" fmla="*/ 111 h 463"/>
                <a:gd name="T122" fmla="*/ 520 w 548"/>
                <a:gd name="T123" fmla="*/ 107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8" h="463">
                  <a:moveTo>
                    <a:pt x="520" y="107"/>
                  </a:moveTo>
                  <a:cubicBezTo>
                    <a:pt x="520" y="103"/>
                    <a:pt x="520" y="103"/>
                    <a:pt x="520" y="103"/>
                  </a:cubicBezTo>
                  <a:cubicBezTo>
                    <a:pt x="520" y="103"/>
                    <a:pt x="506" y="107"/>
                    <a:pt x="500" y="106"/>
                  </a:cubicBezTo>
                  <a:cubicBezTo>
                    <a:pt x="494" y="105"/>
                    <a:pt x="496" y="100"/>
                    <a:pt x="496" y="100"/>
                  </a:cubicBezTo>
                  <a:cubicBezTo>
                    <a:pt x="479" y="100"/>
                    <a:pt x="479" y="100"/>
                    <a:pt x="479" y="100"/>
                  </a:cubicBezTo>
                  <a:cubicBezTo>
                    <a:pt x="479" y="100"/>
                    <a:pt x="483" y="90"/>
                    <a:pt x="480" y="87"/>
                  </a:cubicBezTo>
                  <a:cubicBezTo>
                    <a:pt x="477" y="84"/>
                    <a:pt x="475" y="80"/>
                    <a:pt x="475" y="80"/>
                  </a:cubicBezTo>
                  <a:cubicBezTo>
                    <a:pt x="464" y="78"/>
                    <a:pt x="464" y="78"/>
                    <a:pt x="464" y="78"/>
                  </a:cubicBezTo>
                  <a:cubicBezTo>
                    <a:pt x="455" y="85"/>
                    <a:pt x="455" y="85"/>
                    <a:pt x="455" y="85"/>
                  </a:cubicBezTo>
                  <a:cubicBezTo>
                    <a:pt x="450" y="81"/>
                    <a:pt x="450" y="81"/>
                    <a:pt x="450" y="81"/>
                  </a:cubicBezTo>
                  <a:cubicBezTo>
                    <a:pt x="436" y="81"/>
                    <a:pt x="436" y="81"/>
                    <a:pt x="436" y="81"/>
                  </a:cubicBezTo>
                  <a:cubicBezTo>
                    <a:pt x="436" y="81"/>
                    <a:pt x="435" y="80"/>
                    <a:pt x="433" y="77"/>
                  </a:cubicBezTo>
                  <a:cubicBezTo>
                    <a:pt x="431" y="74"/>
                    <a:pt x="409" y="70"/>
                    <a:pt x="409" y="70"/>
                  </a:cubicBezTo>
                  <a:cubicBezTo>
                    <a:pt x="409" y="54"/>
                    <a:pt x="409" y="54"/>
                    <a:pt x="409" y="54"/>
                  </a:cubicBezTo>
                  <a:cubicBezTo>
                    <a:pt x="399" y="61"/>
                    <a:pt x="399" y="61"/>
                    <a:pt x="399" y="61"/>
                  </a:cubicBezTo>
                  <a:cubicBezTo>
                    <a:pt x="384" y="61"/>
                    <a:pt x="384" y="61"/>
                    <a:pt x="384" y="61"/>
                  </a:cubicBezTo>
                  <a:cubicBezTo>
                    <a:pt x="384" y="61"/>
                    <a:pt x="384" y="45"/>
                    <a:pt x="379" y="42"/>
                  </a:cubicBezTo>
                  <a:cubicBezTo>
                    <a:pt x="374" y="39"/>
                    <a:pt x="356" y="37"/>
                    <a:pt x="356" y="37"/>
                  </a:cubicBezTo>
                  <a:cubicBezTo>
                    <a:pt x="349" y="30"/>
                    <a:pt x="349" y="30"/>
                    <a:pt x="349" y="30"/>
                  </a:cubicBezTo>
                  <a:cubicBezTo>
                    <a:pt x="333" y="26"/>
                    <a:pt x="333" y="26"/>
                    <a:pt x="333" y="26"/>
                  </a:cubicBezTo>
                  <a:cubicBezTo>
                    <a:pt x="327" y="12"/>
                    <a:pt x="327" y="12"/>
                    <a:pt x="327" y="12"/>
                  </a:cubicBezTo>
                  <a:cubicBezTo>
                    <a:pt x="328" y="3"/>
                    <a:pt x="328" y="3"/>
                    <a:pt x="328" y="3"/>
                  </a:cubicBezTo>
                  <a:cubicBezTo>
                    <a:pt x="328" y="3"/>
                    <a:pt x="312" y="0"/>
                    <a:pt x="302" y="4"/>
                  </a:cubicBezTo>
                  <a:cubicBezTo>
                    <a:pt x="292" y="8"/>
                    <a:pt x="267" y="4"/>
                    <a:pt x="271" y="12"/>
                  </a:cubicBezTo>
                  <a:cubicBezTo>
                    <a:pt x="275" y="20"/>
                    <a:pt x="278" y="27"/>
                    <a:pt x="278" y="27"/>
                  </a:cubicBezTo>
                  <a:cubicBezTo>
                    <a:pt x="278" y="27"/>
                    <a:pt x="286" y="44"/>
                    <a:pt x="275" y="52"/>
                  </a:cubicBezTo>
                  <a:cubicBezTo>
                    <a:pt x="264" y="60"/>
                    <a:pt x="242" y="60"/>
                    <a:pt x="242" y="60"/>
                  </a:cubicBezTo>
                  <a:cubicBezTo>
                    <a:pt x="217" y="80"/>
                    <a:pt x="217" y="80"/>
                    <a:pt x="217" y="80"/>
                  </a:cubicBezTo>
                  <a:cubicBezTo>
                    <a:pt x="226" y="86"/>
                    <a:pt x="226" y="86"/>
                    <a:pt x="226" y="86"/>
                  </a:cubicBezTo>
                  <a:cubicBezTo>
                    <a:pt x="226" y="86"/>
                    <a:pt x="206" y="98"/>
                    <a:pt x="191" y="97"/>
                  </a:cubicBezTo>
                  <a:cubicBezTo>
                    <a:pt x="176" y="96"/>
                    <a:pt x="167" y="91"/>
                    <a:pt x="167" y="91"/>
                  </a:cubicBezTo>
                  <a:cubicBezTo>
                    <a:pt x="156" y="76"/>
                    <a:pt x="156" y="76"/>
                    <a:pt x="156" y="76"/>
                  </a:cubicBezTo>
                  <a:cubicBezTo>
                    <a:pt x="156" y="76"/>
                    <a:pt x="135" y="68"/>
                    <a:pt x="136" y="75"/>
                  </a:cubicBezTo>
                  <a:cubicBezTo>
                    <a:pt x="137" y="82"/>
                    <a:pt x="148" y="96"/>
                    <a:pt x="148" y="96"/>
                  </a:cubicBezTo>
                  <a:cubicBezTo>
                    <a:pt x="148" y="96"/>
                    <a:pt x="161" y="120"/>
                    <a:pt x="143" y="123"/>
                  </a:cubicBezTo>
                  <a:cubicBezTo>
                    <a:pt x="125" y="126"/>
                    <a:pt x="106" y="125"/>
                    <a:pt x="106" y="125"/>
                  </a:cubicBezTo>
                  <a:cubicBezTo>
                    <a:pt x="99" y="136"/>
                    <a:pt x="99" y="136"/>
                    <a:pt x="99" y="136"/>
                  </a:cubicBezTo>
                  <a:cubicBezTo>
                    <a:pt x="99" y="136"/>
                    <a:pt x="83" y="116"/>
                    <a:pt x="77" y="117"/>
                  </a:cubicBezTo>
                  <a:cubicBezTo>
                    <a:pt x="71" y="118"/>
                    <a:pt x="51" y="124"/>
                    <a:pt x="51" y="124"/>
                  </a:cubicBezTo>
                  <a:cubicBezTo>
                    <a:pt x="51" y="124"/>
                    <a:pt x="15" y="129"/>
                    <a:pt x="12" y="136"/>
                  </a:cubicBezTo>
                  <a:cubicBezTo>
                    <a:pt x="9" y="143"/>
                    <a:pt x="31" y="149"/>
                    <a:pt x="30" y="152"/>
                  </a:cubicBezTo>
                  <a:cubicBezTo>
                    <a:pt x="29" y="155"/>
                    <a:pt x="0" y="153"/>
                    <a:pt x="6" y="161"/>
                  </a:cubicBezTo>
                  <a:cubicBezTo>
                    <a:pt x="12" y="169"/>
                    <a:pt x="31" y="170"/>
                    <a:pt x="31" y="170"/>
                  </a:cubicBezTo>
                  <a:cubicBezTo>
                    <a:pt x="38" y="166"/>
                    <a:pt x="38" y="166"/>
                    <a:pt x="38" y="166"/>
                  </a:cubicBezTo>
                  <a:cubicBezTo>
                    <a:pt x="70" y="184"/>
                    <a:pt x="70" y="184"/>
                    <a:pt x="70" y="184"/>
                  </a:cubicBezTo>
                  <a:cubicBezTo>
                    <a:pt x="90" y="184"/>
                    <a:pt x="90" y="184"/>
                    <a:pt x="90" y="184"/>
                  </a:cubicBezTo>
                  <a:cubicBezTo>
                    <a:pt x="102" y="196"/>
                    <a:pt x="102" y="196"/>
                    <a:pt x="102" y="196"/>
                  </a:cubicBezTo>
                  <a:cubicBezTo>
                    <a:pt x="128" y="199"/>
                    <a:pt x="128" y="199"/>
                    <a:pt x="128" y="199"/>
                  </a:cubicBezTo>
                  <a:cubicBezTo>
                    <a:pt x="109" y="209"/>
                    <a:pt x="109" y="209"/>
                    <a:pt x="109" y="209"/>
                  </a:cubicBezTo>
                  <a:cubicBezTo>
                    <a:pt x="109" y="209"/>
                    <a:pt x="128" y="240"/>
                    <a:pt x="132" y="244"/>
                  </a:cubicBezTo>
                  <a:cubicBezTo>
                    <a:pt x="136" y="248"/>
                    <a:pt x="153" y="248"/>
                    <a:pt x="153" y="248"/>
                  </a:cubicBezTo>
                  <a:cubicBezTo>
                    <a:pt x="151" y="277"/>
                    <a:pt x="151" y="277"/>
                    <a:pt x="151" y="277"/>
                  </a:cubicBezTo>
                  <a:cubicBezTo>
                    <a:pt x="164" y="297"/>
                    <a:pt x="164" y="297"/>
                    <a:pt x="164" y="297"/>
                  </a:cubicBezTo>
                  <a:cubicBezTo>
                    <a:pt x="173" y="320"/>
                    <a:pt x="173" y="320"/>
                    <a:pt x="173" y="320"/>
                  </a:cubicBezTo>
                  <a:cubicBezTo>
                    <a:pt x="152" y="294"/>
                    <a:pt x="152" y="294"/>
                    <a:pt x="152" y="294"/>
                  </a:cubicBezTo>
                  <a:cubicBezTo>
                    <a:pt x="152" y="294"/>
                    <a:pt x="150" y="323"/>
                    <a:pt x="149" y="333"/>
                  </a:cubicBezTo>
                  <a:cubicBezTo>
                    <a:pt x="148" y="343"/>
                    <a:pt x="137" y="383"/>
                    <a:pt x="132" y="391"/>
                  </a:cubicBezTo>
                  <a:cubicBezTo>
                    <a:pt x="128" y="398"/>
                    <a:pt x="130" y="407"/>
                    <a:pt x="118" y="409"/>
                  </a:cubicBezTo>
                  <a:cubicBezTo>
                    <a:pt x="119" y="415"/>
                    <a:pt x="119" y="415"/>
                    <a:pt x="119" y="415"/>
                  </a:cubicBezTo>
                  <a:cubicBezTo>
                    <a:pt x="119" y="415"/>
                    <a:pt x="128" y="407"/>
                    <a:pt x="134" y="414"/>
                  </a:cubicBezTo>
                  <a:cubicBezTo>
                    <a:pt x="140" y="421"/>
                    <a:pt x="134" y="424"/>
                    <a:pt x="134" y="424"/>
                  </a:cubicBezTo>
                  <a:cubicBezTo>
                    <a:pt x="134" y="424"/>
                    <a:pt x="148" y="426"/>
                    <a:pt x="155" y="427"/>
                  </a:cubicBezTo>
                  <a:cubicBezTo>
                    <a:pt x="162" y="428"/>
                    <a:pt x="168" y="437"/>
                    <a:pt x="168" y="437"/>
                  </a:cubicBezTo>
                  <a:cubicBezTo>
                    <a:pt x="168" y="437"/>
                    <a:pt x="178" y="433"/>
                    <a:pt x="182" y="435"/>
                  </a:cubicBezTo>
                  <a:cubicBezTo>
                    <a:pt x="186" y="437"/>
                    <a:pt x="187" y="440"/>
                    <a:pt x="187" y="440"/>
                  </a:cubicBezTo>
                  <a:cubicBezTo>
                    <a:pt x="207" y="441"/>
                    <a:pt x="207" y="441"/>
                    <a:pt x="207" y="441"/>
                  </a:cubicBezTo>
                  <a:cubicBezTo>
                    <a:pt x="209" y="449"/>
                    <a:pt x="209" y="449"/>
                    <a:pt x="209" y="449"/>
                  </a:cubicBezTo>
                  <a:cubicBezTo>
                    <a:pt x="222" y="446"/>
                    <a:pt x="222" y="446"/>
                    <a:pt x="222" y="446"/>
                  </a:cubicBezTo>
                  <a:cubicBezTo>
                    <a:pt x="222" y="446"/>
                    <a:pt x="216" y="434"/>
                    <a:pt x="229" y="434"/>
                  </a:cubicBezTo>
                  <a:cubicBezTo>
                    <a:pt x="242" y="434"/>
                    <a:pt x="242" y="441"/>
                    <a:pt x="242" y="441"/>
                  </a:cubicBezTo>
                  <a:cubicBezTo>
                    <a:pt x="251" y="442"/>
                    <a:pt x="251" y="442"/>
                    <a:pt x="251" y="442"/>
                  </a:cubicBezTo>
                  <a:cubicBezTo>
                    <a:pt x="253" y="446"/>
                    <a:pt x="253" y="446"/>
                    <a:pt x="253" y="446"/>
                  </a:cubicBezTo>
                  <a:cubicBezTo>
                    <a:pt x="254" y="445"/>
                    <a:pt x="256" y="445"/>
                    <a:pt x="258" y="445"/>
                  </a:cubicBezTo>
                  <a:cubicBezTo>
                    <a:pt x="268" y="444"/>
                    <a:pt x="272" y="445"/>
                    <a:pt x="272" y="445"/>
                  </a:cubicBezTo>
                  <a:cubicBezTo>
                    <a:pt x="273" y="454"/>
                    <a:pt x="273" y="454"/>
                    <a:pt x="273" y="454"/>
                  </a:cubicBezTo>
                  <a:cubicBezTo>
                    <a:pt x="276" y="455"/>
                    <a:pt x="278" y="459"/>
                    <a:pt x="278" y="459"/>
                  </a:cubicBezTo>
                  <a:cubicBezTo>
                    <a:pt x="278" y="459"/>
                    <a:pt x="285" y="457"/>
                    <a:pt x="288" y="456"/>
                  </a:cubicBezTo>
                  <a:cubicBezTo>
                    <a:pt x="291" y="455"/>
                    <a:pt x="298" y="463"/>
                    <a:pt x="298" y="463"/>
                  </a:cubicBezTo>
                  <a:cubicBezTo>
                    <a:pt x="298" y="463"/>
                    <a:pt x="299" y="463"/>
                    <a:pt x="306" y="463"/>
                  </a:cubicBezTo>
                  <a:cubicBezTo>
                    <a:pt x="313" y="463"/>
                    <a:pt x="313" y="453"/>
                    <a:pt x="313" y="453"/>
                  </a:cubicBezTo>
                  <a:cubicBezTo>
                    <a:pt x="320" y="453"/>
                    <a:pt x="320" y="453"/>
                    <a:pt x="320" y="453"/>
                  </a:cubicBezTo>
                  <a:cubicBezTo>
                    <a:pt x="319" y="452"/>
                    <a:pt x="319" y="451"/>
                    <a:pt x="319" y="450"/>
                  </a:cubicBezTo>
                  <a:cubicBezTo>
                    <a:pt x="319" y="440"/>
                    <a:pt x="334" y="417"/>
                    <a:pt x="341" y="413"/>
                  </a:cubicBezTo>
                  <a:cubicBezTo>
                    <a:pt x="348" y="409"/>
                    <a:pt x="369" y="392"/>
                    <a:pt x="378" y="397"/>
                  </a:cubicBezTo>
                  <a:cubicBezTo>
                    <a:pt x="387" y="402"/>
                    <a:pt x="395" y="407"/>
                    <a:pt x="395" y="407"/>
                  </a:cubicBezTo>
                  <a:cubicBezTo>
                    <a:pt x="395" y="407"/>
                    <a:pt x="418" y="401"/>
                    <a:pt x="423" y="406"/>
                  </a:cubicBezTo>
                  <a:cubicBezTo>
                    <a:pt x="428" y="411"/>
                    <a:pt x="435" y="419"/>
                    <a:pt x="438" y="421"/>
                  </a:cubicBezTo>
                  <a:cubicBezTo>
                    <a:pt x="438" y="421"/>
                    <a:pt x="463" y="431"/>
                    <a:pt x="476" y="421"/>
                  </a:cubicBezTo>
                  <a:cubicBezTo>
                    <a:pt x="489" y="411"/>
                    <a:pt x="493" y="392"/>
                    <a:pt x="499" y="390"/>
                  </a:cubicBezTo>
                  <a:cubicBezTo>
                    <a:pt x="501" y="389"/>
                    <a:pt x="507" y="389"/>
                    <a:pt x="513" y="388"/>
                  </a:cubicBezTo>
                  <a:cubicBezTo>
                    <a:pt x="513" y="385"/>
                    <a:pt x="514" y="383"/>
                    <a:pt x="516" y="383"/>
                  </a:cubicBezTo>
                  <a:cubicBezTo>
                    <a:pt x="520" y="383"/>
                    <a:pt x="526" y="373"/>
                    <a:pt x="523" y="369"/>
                  </a:cubicBezTo>
                  <a:cubicBezTo>
                    <a:pt x="520" y="365"/>
                    <a:pt x="506" y="367"/>
                    <a:pt x="506" y="367"/>
                  </a:cubicBezTo>
                  <a:cubicBezTo>
                    <a:pt x="503" y="361"/>
                    <a:pt x="503" y="361"/>
                    <a:pt x="503" y="361"/>
                  </a:cubicBezTo>
                  <a:cubicBezTo>
                    <a:pt x="503" y="361"/>
                    <a:pt x="489" y="360"/>
                    <a:pt x="490" y="350"/>
                  </a:cubicBezTo>
                  <a:cubicBezTo>
                    <a:pt x="491" y="340"/>
                    <a:pt x="497" y="340"/>
                    <a:pt x="496" y="335"/>
                  </a:cubicBezTo>
                  <a:cubicBezTo>
                    <a:pt x="495" y="330"/>
                    <a:pt x="491" y="327"/>
                    <a:pt x="491" y="327"/>
                  </a:cubicBezTo>
                  <a:cubicBezTo>
                    <a:pt x="484" y="327"/>
                    <a:pt x="484" y="327"/>
                    <a:pt x="484" y="327"/>
                  </a:cubicBezTo>
                  <a:cubicBezTo>
                    <a:pt x="478" y="314"/>
                    <a:pt x="478" y="314"/>
                    <a:pt x="478" y="314"/>
                  </a:cubicBezTo>
                  <a:cubicBezTo>
                    <a:pt x="487" y="312"/>
                    <a:pt x="487" y="312"/>
                    <a:pt x="487" y="312"/>
                  </a:cubicBezTo>
                  <a:cubicBezTo>
                    <a:pt x="487" y="312"/>
                    <a:pt x="506" y="311"/>
                    <a:pt x="506" y="302"/>
                  </a:cubicBezTo>
                  <a:cubicBezTo>
                    <a:pt x="506" y="293"/>
                    <a:pt x="495" y="289"/>
                    <a:pt x="495" y="289"/>
                  </a:cubicBezTo>
                  <a:cubicBezTo>
                    <a:pt x="487" y="281"/>
                    <a:pt x="487" y="281"/>
                    <a:pt x="487" y="281"/>
                  </a:cubicBezTo>
                  <a:cubicBezTo>
                    <a:pt x="487" y="281"/>
                    <a:pt x="497" y="277"/>
                    <a:pt x="497" y="273"/>
                  </a:cubicBezTo>
                  <a:cubicBezTo>
                    <a:pt x="497" y="269"/>
                    <a:pt x="490" y="263"/>
                    <a:pt x="490" y="263"/>
                  </a:cubicBezTo>
                  <a:cubicBezTo>
                    <a:pt x="491" y="245"/>
                    <a:pt x="491" y="245"/>
                    <a:pt x="491" y="245"/>
                  </a:cubicBezTo>
                  <a:cubicBezTo>
                    <a:pt x="491" y="245"/>
                    <a:pt x="483" y="239"/>
                    <a:pt x="476" y="243"/>
                  </a:cubicBezTo>
                  <a:cubicBezTo>
                    <a:pt x="469" y="247"/>
                    <a:pt x="464" y="260"/>
                    <a:pt x="458" y="259"/>
                  </a:cubicBezTo>
                  <a:cubicBezTo>
                    <a:pt x="452" y="258"/>
                    <a:pt x="462" y="250"/>
                    <a:pt x="462" y="250"/>
                  </a:cubicBezTo>
                  <a:cubicBezTo>
                    <a:pt x="456" y="242"/>
                    <a:pt x="456" y="242"/>
                    <a:pt x="456" y="242"/>
                  </a:cubicBezTo>
                  <a:cubicBezTo>
                    <a:pt x="456" y="242"/>
                    <a:pt x="468" y="233"/>
                    <a:pt x="474" y="226"/>
                  </a:cubicBezTo>
                  <a:cubicBezTo>
                    <a:pt x="480" y="219"/>
                    <a:pt x="477" y="213"/>
                    <a:pt x="477" y="213"/>
                  </a:cubicBezTo>
                  <a:cubicBezTo>
                    <a:pt x="477" y="213"/>
                    <a:pt x="483" y="219"/>
                    <a:pt x="488" y="213"/>
                  </a:cubicBezTo>
                  <a:cubicBezTo>
                    <a:pt x="493" y="207"/>
                    <a:pt x="499" y="198"/>
                    <a:pt x="499" y="198"/>
                  </a:cubicBezTo>
                  <a:cubicBezTo>
                    <a:pt x="504" y="189"/>
                    <a:pt x="504" y="189"/>
                    <a:pt x="504" y="189"/>
                  </a:cubicBezTo>
                  <a:cubicBezTo>
                    <a:pt x="517" y="196"/>
                    <a:pt x="517" y="196"/>
                    <a:pt x="517" y="196"/>
                  </a:cubicBezTo>
                  <a:cubicBezTo>
                    <a:pt x="522" y="186"/>
                    <a:pt x="522" y="186"/>
                    <a:pt x="522" y="186"/>
                  </a:cubicBezTo>
                  <a:cubicBezTo>
                    <a:pt x="522" y="186"/>
                    <a:pt x="518" y="177"/>
                    <a:pt x="520" y="166"/>
                  </a:cubicBezTo>
                  <a:cubicBezTo>
                    <a:pt x="522" y="155"/>
                    <a:pt x="532" y="136"/>
                    <a:pt x="532" y="136"/>
                  </a:cubicBezTo>
                  <a:cubicBezTo>
                    <a:pt x="532" y="128"/>
                    <a:pt x="532" y="128"/>
                    <a:pt x="532" y="128"/>
                  </a:cubicBezTo>
                  <a:cubicBezTo>
                    <a:pt x="546" y="117"/>
                    <a:pt x="546" y="117"/>
                    <a:pt x="546" y="117"/>
                  </a:cubicBezTo>
                  <a:cubicBezTo>
                    <a:pt x="548" y="111"/>
                    <a:pt x="548" y="111"/>
                    <a:pt x="548" y="111"/>
                  </a:cubicBezTo>
                  <a:cubicBezTo>
                    <a:pt x="538" y="106"/>
                    <a:pt x="538" y="106"/>
                    <a:pt x="538" y="106"/>
                  </a:cubicBezTo>
                  <a:lnTo>
                    <a:pt x="520" y="107"/>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3" name="Freeform 42">
              <a:extLst>
                <a:ext uri="{FF2B5EF4-FFF2-40B4-BE49-F238E27FC236}">
                  <a16:creationId xmlns:a16="http://schemas.microsoft.com/office/drawing/2014/main" id="{A6957DBA-A057-4697-9B48-8D8210DC5717}"/>
                </a:ext>
              </a:extLst>
            </p:cNvPr>
            <p:cNvSpPr>
              <a:spLocks noEditPoints="1"/>
            </p:cNvSpPr>
            <p:nvPr/>
          </p:nvSpPr>
          <p:spPr bwMode="auto">
            <a:xfrm>
              <a:off x="2523963" y="1814017"/>
              <a:ext cx="937976" cy="1303916"/>
            </a:xfrm>
            <a:custGeom>
              <a:avLst/>
              <a:gdLst>
                <a:gd name="T0" fmla="*/ 118 w 395"/>
                <a:gd name="T1" fmla="*/ 256 h 549"/>
                <a:gd name="T2" fmla="*/ 111 w 395"/>
                <a:gd name="T3" fmla="*/ 221 h 549"/>
                <a:gd name="T4" fmla="*/ 98 w 395"/>
                <a:gd name="T5" fmla="*/ 248 h 549"/>
                <a:gd name="T6" fmla="*/ 222 w 395"/>
                <a:gd name="T7" fmla="*/ 93 h 549"/>
                <a:gd name="T8" fmla="*/ 97 w 395"/>
                <a:gd name="T9" fmla="*/ 159 h 549"/>
                <a:gd name="T10" fmla="*/ 93 w 395"/>
                <a:gd name="T11" fmla="*/ 183 h 549"/>
                <a:gd name="T12" fmla="*/ 325 w 395"/>
                <a:gd name="T13" fmla="*/ 1 h 549"/>
                <a:gd name="T14" fmla="*/ 296 w 395"/>
                <a:gd name="T15" fmla="*/ 36 h 549"/>
                <a:gd name="T16" fmla="*/ 301 w 395"/>
                <a:gd name="T17" fmla="*/ 12 h 549"/>
                <a:gd name="T18" fmla="*/ 296 w 395"/>
                <a:gd name="T19" fmla="*/ 36 h 549"/>
                <a:gd name="T20" fmla="*/ 247 w 395"/>
                <a:gd name="T21" fmla="*/ 96 h 549"/>
                <a:gd name="T22" fmla="*/ 128 w 395"/>
                <a:gd name="T23" fmla="*/ 258 h 549"/>
                <a:gd name="T24" fmla="*/ 331 w 395"/>
                <a:gd name="T25" fmla="*/ 402 h 549"/>
                <a:gd name="T26" fmla="*/ 330 w 395"/>
                <a:gd name="T27" fmla="*/ 357 h 549"/>
                <a:gd name="T28" fmla="*/ 291 w 395"/>
                <a:gd name="T29" fmla="*/ 314 h 549"/>
                <a:gd name="T30" fmla="*/ 265 w 395"/>
                <a:gd name="T31" fmla="*/ 261 h 549"/>
                <a:gd name="T32" fmla="*/ 191 w 395"/>
                <a:gd name="T33" fmla="*/ 235 h 549"/>
                <a:gd name="T34" fmla="*/ 214 w 395"/>
                <a:gd name="T35" fmla="*/ 222 h 549"/>
                <a:gd name="T36" fmla="*/ 261 w 395"/>
                <a:gd name="T37" fmla="*/ 177 h 549"/>
                <a:gd name="T38" fmla="*/ 211 w 395"/>
                <a:gd name="T39" fmla="*/ 154 h 549"/>
                <a:gd name="T40" fmla="*/ 179 w 395"/>
                <a:gd name="T41" fmla="*/ 147 h 549"/>
                <a:gd name="T42" fmla="*/ 224 w 395"/>
                <a:gd name="T43" fmla="*/ 112 h 549"/>
                <a:gd name="T44" fmla="*/ 153 w 395"/>
                <a:gd name="T45" fmla="*/ 110 h 549"/>
                <a:gd name="T46" fmla="*/ 144 w 395"/>
                <a:gd name="T47" fmla="*/ 148 h 549"/>
                <a:gd name="T48" fmla="*/ 121 w 395"/>
                <a:gd name="T49" fmla="*/ 162 h 549"/>
                <a:gd name="T50" fmla="*/ 116 w 395"/>
                <a:gd name="T51" fmla="*/ 198 h 549"/>
                <a:gd name="T52" fmla="*/ 134 w 395"/>
                <a:gd name="T53" fmla="*/ 202 h 549"/>
                <a:gd name="T54" fmla="*/ 116 w 395"/>
                <a:gd name="T55" fmla="*/ 250 h 549"/>
                <a:gd name="T56" fmla="*/ 144 w 395"/>
                <a:gd name="T57" fmla="*/ 251 h 549"/>
                <a:gd name="T58" fmla="*/ 146 w 395"/>
                <a:gd name="T59" fmla="*/ 306 h 549"/>
                <a:gd name="T60" fmla="*/ 211 w 395"/>
                <a:gd name="T61" fmla="*/ 295 h 549"/>
                <a:gd name="T62" fmla="*/ 216 w 395"/>
                <a:gd name="T63" fmla="*/ 349 h 549"/>
                <a:gd name="T64" fmla="*/ 162 w 395"/>
                <a:gd name="T65" fmla="*/ 377 h 549"/>
                <a:gd name="T66" fmla="*/ 135 w 395"/>
                <a:gd name="T67" fmla="*/ 402 h 549"/>
                <a:gd name="T68" fmla="*/ 117 w 395"/>
                <a:gd name="T69" fmla="*/ 448 h 549"/>
                <a:gd name="T70" fmla="*/ 151 w 395"/>
                <a:gd name="T71" fmla="*/ 466 h 549"/>
                <a:gd name="T72" fmla="*/ 202 w 395"/>
                <a:gd name="T73" fmla="*/ 467 h 549"/>
                <a:gd name="T74" fmla="*/ 156 w 395"/>
                <a:gd name="T75" fmla="*/ 485 h 549"/>
                <a:gd name="T76" fmla="*/ 129 w 395"/>
                <a:gd name="T77" fmla="*/ 516 h 549"/>
                <a:gd name="T78" fmla="*/ 83 w 395"/>
                <a:gd name="T79" fmla="*/ 545 h 549"/>
                <a:gd name="T80" fmla="*/ 147 w 395"/>
                <a:gd name="T81" fmla="*/ 530 h 549"/>
                <a:gd name="T82" fmla="*/ 211 w 395"/>
                <a:gd name="T83" fmla="*/ 519 h 549"/>
                <a:gd name="T84" fmla="*/ 273 w 395"/>
                <a:gd name="T85" fmla="*/ 520 h 549"/>
                <a:gd name="T86" fmla="*/ 293 w 395"/>
                <a:gd name="T87" fmla="*/ 508 h 549"/>
                <a:gd name="T88" fmla="*/ 340 w 395"/>
                <a:gd name="T89" fmla="*/ 474 h 549"/>
                <a:gd name="T90" fmla="*/ 375 w 395"/>
                <a:gd name="T91" fmla="*/ 447 h 549"/>
                <a:gd name="T92" fmla="*/ 157 w 395"/>
                <a:gd name="T93" fmla="*/ 325 h 549"/>
                <a:gd name="T94" fmla="*/ 94 w 395"/>
                <a:gd name="T95" fmla="*/ 338 h 549"/>
                <a:gd name="T96" fmla="*/ 110 w 395"/>
                <a:gd name="T97" fmla="*/ 308 h 549"/>
                <a:gd name="T98" fmla="*/ 86 w 395"/>
                <a:gd name="T99" fmla="*/ 281 h 549"/>
                <a:gd name="T100" fmla="*/ 58 w 395"/>
                <a:gd name="T101" fmla="*/ 288 h 549"/>
                <a:gd name="T102" fmla="*/ 13 w 395"/>
                <a:gd name="T103" fmla="*/ 325 h 549"/>
                <a:gd name="T104" fmla="*/ 67 w 395"/>
                <a:gd name="T105" fmla="*/ 335 h 549"/>
                <a:gd name="T106" fmla="*/ 63 w 395"/>
                <a:gd name="T107" fmla="*/ 155 h 549"/>
                <a:gd name="T108" fmla="*/ 63 w 395"/>
                <a:gd name="T109" fmla="*/ 155 h 549"/>
                <a:gd name="T110" fmla="*/ 108 w 395"/>
                <a:gd name="T111" fmla="*/ 115 h 549"/>
                <a:gd name="T112" fmla="*/ 72 w 395"/>
                <a:gd name="T113" fmla="*/ 128 h 549"/>
                <a:gd name="T114" fmla="*/ 57 w 395"/>
                <a:gd name="T115" fmla="*/ 169 h 549"/>
                <a:gd name="T116" fmla="*/ 57 w 395"/>
                <a:gd name="T117" fmla="*/ 16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7" y="96"/>
                    <a:pt x="247" y="96"/>
                    <a:pt x="247" y="96"/>
                  </a:cubicBezTo>
                  <a:lnTo>
                    <a:pt x="239" y="94"/>
                  </a:lnTo>
                  <a:close/>
                  <a:moveTo>
                    <a:pt x="137" y="269"/>
                  </a:moveTo>
                  <a:cubicBezTo>
                    <a:pt x="143" y="265"/>
                    <a:pt x="134" y="252"/>
                    <a:pt x="128" y="258"/>
                  </a:cubicBezTo>
                  <a:cubicBezTo>
                    <a:pt x="122" y="264"/>
                    <a:pt x="131"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1" y="180"/>
                    <a:pt x="131" y="180"/>
                    <a:pt x="131" y="180"/>
                  </a:cubicBezTo>
                  <a:cubicBezTo>
                    <a:pt x="131"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1"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7"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5" y="461"/>
                    <a:pt x="355" y="461"/>
                    <a:pt x="355" y="461"/>
                  </a:cubicBezTo>
                  <a:cubicBezTo>
                    <a:pt x="355"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4" name="Freeform 43">
              <a:extLst>
                <a:ext uri="{FF2B5EF4-FFF2-40B4-BE49-F238E27FC236}">
                  <a16:creationId xmlns:a16="http://schemas.microsoft.com/office/drawing/2014/main" id="{9EC32DED-B004-48E1-84D8-E15CB5474CD3}"/>
                </a:ext>
              </a:extLst>
            </p:cNvPr>
            <p:cNvSpPr>
              <a:spLocks/>
            </p:cNvSpPr>
            <p:nvPr/>
          </p:nvSpPr>
          <p:spPr bwMode="auto">
            <a:xfrm>
              <a:off x="2285700" y="2464468"/>
              <a:ext cx="449384" cy="479544"/>
            </a:xfrm>
            <a:custGeom>
              <a:avLst/>
              <a:gdLst>
                <a:gd name="T0" fmla="*/ 186 w 189"/>
                <a:gd name="T1" fmla="*/ 104 h 202"/>
                <a:gd name="T2" fmla="*/ 177 w 189"/>
                <a:gd name="T3" fmla="*/ 87 h 202"/>
                <a:gd name="T4" fmla="*/ 176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8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02">
                  <a:moveTo>
                    <a:pt x="186" y="104"/>
                  </a:moveTo>
                  <a:cubicBezTo>
                    <a:pt x="186" y="94"/>
                    <a:pt x="177" y="87"/>
                    <a:pt x="177" y="87"/>
                  </a:cubicBezTo>
                  <a:cubicBezTo>
                    <a:pt x="177" y="87"/>
                    <a:pt x="177" y="78"/>
                    <a:pt x="176"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8" y="183"/>
                    <a:pt x="8"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5" name="Freeform 44">
              <a:extLst>
                <a:ext uri="{FF2B5EF4-FFF2-40B4-BE49-F238E27FC236}">
                  <a16:creationId xmlns:a16="http://schemas.microsoft.com/office/drawing/2014/main" id="{BA222617-DA90-42D9-9F18-88435CA9955C}"/>
                </a:ext>
              </a:extLst>
            </p:cNvPr>
            <p:cNvSpPr>
              <a:spLocks/>
            </p:cNvSpPr>
            <p:nvPr/>
          </p:nvSpPr>
          <p:spPr bwMode="auto">
            <a:xfrm>
              <a:off x="4069159" y="2183980"/>
              <a:ext cx="252339" cy="346840"/>
            </a:xfrm>
            <a:custGeom>
              <a:avLst/>
              <a:gdLst>
                <a:gd name="T0" fmla="*/ 83 w 106"/>
                <a:gd name="T1" fmla="*/ 36 h 146"/>
                <a:gd name="T2" fmla="*/ 97 w 106"/>
                <a:gd name="T3" fmla="*/ 14 h 146"/>
                <a:gd name="T4" fmla="*/ 90 w 106"/>
                <a:gd name="T5" fmla="*/ 2 h 146"/>
                <a:gd name="T6" fmla="*/ 71 w 106"/>
                <a:gd name="T7" fmla="*/ 3 h 146"/>
                <a:gd name="T8" fmla="*/ 50 w 106"/>
                <a:gd name="T9" fmla="*/ 36 h 146"/>
                <a:gd name="T10" fmla="*/ 53 w 106"/>
                <a:gd name="T11" fmla="*/ 53 h 146"/>
                <a:gd name="T12" fmla="*/ 40 w 106"/>
                <a:gd name="T13" fmla="*/ 42 h 146"/>
                <a:gd name="T14" fmla="*/ 34 w 106"/>
                <a:gd name="T15" fmla="*/ 21 h 146"/>
                <a:gd name="T16" fmla="*/ 10 w 106"/>
                <a:gd name="T17" fmla="*/ 40 h 146"/>
                <a:gd name="T18" fmla="*/ 25 w 106"/>
                <a:gd name="T19" fmla="*/ 44 h 146"/>
                <a:gd name="T20" fmla="*/ 35 w 106"/>
                <a:gd name="T21" fmla="*/ 61 h 146"/>
                <a:gd name="T22" fmla="*/ 12 w 106"/>
                <a:gd name="T23" fmla="*/ 57 h 146"/>
                <a:gd name="T24" fmla="*/ 1 w 106"/>
                <a:gd name="T25" fmla="*/ 80 h 146"/>
                <a:gd name="T26" fmla="*/ 18 w 106"/>
                <a:gd name="T27" fmla="*/ 90 h 146"/>
                <a:gd name="T28" fmla="*/ 7 w 106"/>
                <a:gd name="T29" fmla="*/ 108 h 146"/>
                <a:gd name="T30" fmla="*/ 24 w 106"/>
                <a:gd name="T31" fmla="*/ 110 h 146"/>
                <a:gd name="T32" fmla="*/ 23 w 106"/>
                <a:gd name="T33" fmla="*/ 125 h 146"/>
                <a:gd name="T34" fmla="*/ 15 w 106"/>
                <a:gd name="T35" fmla="*/ 135 h 146"/>
                <a:gd name="T36" fmla="*/ 25 w 106"/>
                <a:gd name="T37" fmla="*/ 140 h 146"/>
                <a:gd name="T38" fmla="*/ 36 w 106"/>
                <a:gd name="T39" fmla="*/ 140 h 146"/>
                <a:gd name="T40" fmla="*/ 48 w 106"/>
                <a:gd name="T41" fmla="*/ 145 h 146"/>
                <a:gd name="T42" fmla="*/ 58 w 106"/>
                <a:gd name="T43" fmla="*/ 143 h 146"/>
                <a:gd name="T44" fmla="*/ 66 w 106"/>
                <a:gd name="T45" fmla="*/ 146 h 146"/>
                <a:gd name="T46" fmla="*/ 69 w 106"/>
                <a:gd name="T47" fmla="*/ 144 h 146"/>
                <a:gd name="T48" fmla="*/ 69 w 106"/>
                <a:gd name="T49" fmla="*/ 144 h 146"/>
                <a:gd name="T50" fmla="*/ 62 w 106"/>
                <a:gd name="T51" fmla="*/ 128 h 146"/>
                <a:gd name="T52" fmla="*/ 73 w 106"/>
                <a:gd name="T53" fmla="*/ 115 h 146"/>
                <a:gd name="T54" fmla="*/ 65 w 106"/>
                <a:gd name="T55" fmla="*/ 98 h 146"/>
                <a:gd name="T56" fmla="*/ 83 w 106"/>
                <a:gd name="T57" fmla="*/ 89 h 146"/>
                <a:gd name="T58" fmla="*/ 87 w 106"/>
                <a:gd name="T59" fmla="*/ 70 h 146"/>
                <a:gd name="T60" fmla="*/ 101 w 106"/>
                <a:gd name="T61" fmla="*/ 70 h 146"/>
                <a:gd name="T62" fmla="*/ 106 w 106"/>
                <a:gd name="T63" fmla="*/ 55 h 146"/>
                <a:gd name="T64" fmla="*/ 83 w 106"/>
                <a:gd name="T65" fmla="*/ 55 h 146"/>
                <a:gd name="T66" fmla="*/ 83 w 106"/>
                <a:gd name="T67" fmla="*/ 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46">
                  <a:moveTo>
                    <a:pt x="83" y="36"/>
                  </a:moveTo>
                  <a:cubicBezTo>
                    <a:pt x="87" y="33"/>
                    <a:pt x="100" y="19"/>
                    <a:pt x="97" y="14"/>
                  </a:cubicBezTo>
                  <a:cubicBezTo>
                    <a:pt x="94" y="9"/>
                    <a:pt x="90" y="2"/>
                    <a:pt x="90" y="2"/>
                  </a:cubicBezTo>
                  <a:cubicBezTo>
                    <a:pt x="90" y="2"/>
                    <a:pt x="72" y="0"/>
                    <a:pt x="71" y="3"/>
                  </a:cubicBezTo>
                  <a:cubicBezTo>
                    <a:pt x="70" y="6"/>
                    <a:pt x="50" y="31"/>
                    <a:pt x="50" y="36"/>
                  </a:cubicBezTo>
                  <a:cubicBezTo>
                    <a:pt x="50" y="41"/>
                    <a:pt x="53" y="53"/>
                    <a:pt x="53" y="53"/>
                  </a:cubicBezTo>
                  <a:cubicBezTo>
                    <a:pt x="40" y="42"/>
                    <a:pt x="40" y="42"/>
                    <a:pt x="40" y="42"/>
                  </a:cubicBezTo>
                  <a:cubicBezTo>
                    <a:pt x="34" y="21"/>
                    <a:pt x="34" y="21"/>
                    <a:pt x="34" y="21"/>
                  </a:cubicBezTo>
                  <a:cubicBezTo>
                    <a:pt x="34" y="21"/>
                    <a:pt x="9" y="37"/>
                    <a:pt x="10" y="40"/>
                  </a:cubicBezTo>
                  <a:cubicBezTo>
                    <a:pt x="11" y="43"/>
                    <a:pt x="24" y="41"/>
                    <a:pt x="25" y="44"/>
                  </a:cubicBezTo>
                  <a:cubicBezTo>
                    <a:pt x="26" y="47"/>
                    <a:pt x="35" y="61"/>
                    <a:pt x="35" y="61"/>
                  </a:cubicBezTo>
                  <a:cubicBezTo>
                    <a:pt x="12" y="57"/>
                    <a:pt x="12" y="57"/>
                    <a:pt x="12" y="57"/>
                  </a:cubicBezTo>
                  <a:cubicBezTo>
                    <a:pt x="12" y="57"/>
                    <a:pt x="0" y="72"/>
                    <a:pt x="1" y="80"/>
                  </a:cubicBezTo>
                  <a:cubicBezTo>
                    <a:pt x="2" y="88"/>
                    <a:pt x="18" y="90"/>
                    <a:pt x="18" y="90"/>
                  </a:cubicBezTo>
                  <a:cubicBezTo>
                    <a:pt x="18" y="90"/>
                    <a:pt x="4" y="106"/>
                    <a:pt x="7" y="108"/>
                  </a:cubicBezTo>
                  <a:cubicBezTo>
                    <a:pt x="10" y="110"/>
                    <a:pt x="24" y="110"/>
                    <a:pt x="24" y="110"/>
                  </a:cubicBezTo>
                  <a:cubicBezTo>
                    <a:pt x="23" y="125"/>
                    <a:pt x="23" y="125"/>
                    <a:pt x="23" y="125"/>
                  </a:cubicBezTo>
                  <a:cubicBezTo>
                    <a:pt x="15" y="135"/>
                    <a:pt x="15" y="135"/>
                    <a:pt x="15" y="135"/>
                  </a:cubicBezTo>
                  <a:cubicBezTo>
                    <a:pt x="25" y="140"/>
                    <a:pt x="25" y="140"/>
                    <a:pt x="25" y="140"/>
                  </a:cubicBezTo>
                  <a:cubicBezTo>
                    <a:pt x="25" y="140"/>
                    <a:pt x="32" y="140"/>
                    <a:pt x="36" y="140"/>
                  </a:cubicBezTo>
                  <a:cubicBezTo>
                    <a:pt x="40" y="140"/>
                    <a:pt x="48" y="145"/>
                    <a:pt x="48" y="145"/>
                  </a:cubicBezTo>
                  <a:cubicBezTo>
                    <a:pt x="48" y="145"/>
                    <a:pt x="50" y="143"/>
                    <a:pt x="58" y="143"/>
                  </a:cubicBezTo>
                  <a:cubicBezTo>
                    <a:pt x="65" y="142"/>
                    <a:pt x="66" y="146"/>
                    <a:pt x="66" y="146"/>
                  </a:cubicBezTo>
                  <a:cubicBezTo>
                    <a:pt x="66" y="146"/>
                    <a:pt x="67" y="145"/>
                    <a:pt x="69" y="144"/>
                  </a:cubicBezTo>
                  <a:cubicBezTo>
                    <a:pt x="69" y="144"/>
                    <a:pt x="69" y="144"/>
                    <a:pt x="69" y="144"/>
                  </a:cubicBezTo>
                  <a:cubicBezTo>
                    <a:pt x="65" y="134"/>
                    <a:pt x="62" y="128"/>
                    <a:pt x="62" y="128"/>
                  </a:cubicBezTo>
                  <a:cubicBezTo>
                    <a:pt x="73" y="115"/>
                    <a:pt x="73" y="115"/>
                    <a:pt x="73" y="115"/>
                  </a:cubicBezTo>
                  <a:cubicBezTo>
                    <a:pt x="73" y="115"/>
                    <a:pt x="55" y="100"/>
                    <a:pt x="65" y="98"/>
                  </a:cubicBezTo>
                  <a:cubicBezTo>
                    <a:pt x="75" y="96"/>
                    <a:pt x="83" y="89"/>
                    <a:pt x="83" y="89"/>
                  </a:cubicBezTo>
                  <a:cubicBezTo>
                    <a:pt x="87" y="70"/>
                    <a:pt x="87" y="70"/>
                    <a:pt x="87" y="70"/>
                  </a:cubicBezTo>
                  <a:cubicBezTo>
                    <a:pt x="101" y="70"/>
                    <a:pt x="101" y="70"/>
                    <a:pt x="101" y="70"/>
                  </a:cubicBezTo>
                  <a:cubicBezTo>
                    <a:pt x="106" y="55"/>
                    <a:pt x="106" y="55"/>
                    <a:pt x="106" y="55"/>
                  </a:cubicBezTo>
                  <a:cubicBezTo>
                    <a:pt x="83" y="55"/>
                    <a:pt x="83" y="55"/>
                    <a:pt x="83" y="55"/>
                  </a:cubicBezTo>
                  <a:cubicBezTo>
                    <a:pt x="83" y="55"/>
                    <a:pt x="79" y="39"/>
                    <a:pt x="83" y="36"/>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6" name="Freeform 45">
              <a:extLst>
                <a:ext uri="{FF2B5EF4-FFF2-40B4-BE49-F238E27FC236}">
                  <a16:creationId xmlns:a16="http://schemas.microsoft.com/office/drawing/2014/main" id="{23D1889A-D710-4AD4-A1FB-F0DD62C77011}"/>
                </a:ext>
              </a:extLst>
            </p:cNvPr>
            <p:cNvSpPr>
              <a:spLocks/>
            </p:cNvSpPr>
            <p:nvPr/>
          </p:nvSpPr>
          <p:spPr bwMode="auto">
            <a:xfrm>
              <a:off x="4252129" y="2431292"/>
              <a:ext cx="57304" cy="80427"/>
            </a:xfrm>
            <a:custGeom>
              <a:avLst/>
              <a:gdLst>
                <a:gd name="T0" fmla="*/ 0 w 24"/>
                <a:gd name="T1" fmla="*/ 0 h 34"/>
                <a:gd name="T2" fmla="*/ 2 w 24"/>
                <a:gd name="T3" fmla="*/ 24 h 34"/>
                <a:gd name="T4" fmla="*/ 18 w 24"/>
                <a:gd name="T5" fmla="*/ 34 h 34"/>
                <a:gd name="T6" fmla="*/ 24 w 24"/>
                <a:gd name="T7" fmla="*/ 16 h 34"/>
                <a:gd name="T8" fmla="*/ 12 w 24"/>
                <a:gd name="T9" fmla="*/ 2 h 34"/>
                <a:gd name="T10" fmla="*/ 0 w 24"/>
                <a:gd name="T11" fmla="*/ 0 h 34"/>
              </a:gdLst>
              <a:ahLst/>
              <a:cxnLst>
                <a:cxn ang="0">
                  <a:pos x="T0" y="T1"/>
                </a:cxn>
                <a:cxn ang="0">
                  <a:pos x="T2" y="T3"/>
                </a:cxn>
                <a:cxn ang="0">
                  <a:pos x="T4" y="T5"/>
                </a:cxn>
                <a:cxn ang="0">
                  <a:pos x="T6" y="T7"/>
                </a:cxn>
                <a:cxn ang="0">
                  <a:pos x="T8" y="T9"/>
                </a:cxn>
                <a:cxn ang="0">
                  <a:pos x="T10" y="T11"/>
                </a:cxn>
              </a:cxnLst>
              <a:rect l="0" t="0" r="r" b="b"/>
              <a:pathLst>
                <a:path w="24" h="34">
                  <a:moveTo>
                    <a:pt x="0" y="0"/>
                  </a:moveTo>
                  <a:cubicBezTo>
                    <a:pt x="2" y="24"/>
                    <a:pt x="2" y="24"/>
                    <a:pt x="2" y="24"/>
                  </a:cubicBezTo>
                  <a:cubicBezTo>
                    <a:pt x="8" y="24"/>
                    <a:pt x="18" y="34"/>
                    <a:pt x="18" y="34"/>
                  </a:cubicBezTo>
                  <a:cubicBezTo>
                    <a:pt x="24" y="16"/>
                    <a:pt x="24" y="16"/>
                    <a:pt x="24" y="16"/>
                  </a:cubicBezTo>
                  <a:cubicBezTo>
                    <a:pt x="12" y="2"/>
                    <a:pt x="12" y="2"/>
                    <a:pt x="12" y="2"/>
                  </a:cubicBezTo>
                  <a:lnTo>
                    <a:pt x="0" y="0"/>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7" name="Freeform 46">
              <a:extLst>
                <a:ext uri="{FF2B5EF4-FFF2-40B4-BE49-F238E27FC236}">
                  <a16:creationId xmlns:a16="http://schemas.microsoft.com/office/drawing/2014/main" id="{D4C5A4DF-8C8C-4771-9C03-540DA391D5B8}"/>
                </a:ext>
              </a:extLst>
            </p:cNvPr>
            <p:cNvSpPr>
              <a:spLocks/>
            </p:cNvSpPr>
            <p:nvPr/>
          </p:nvSpPr>
          <p:spPr bwMode="auto">
            <a:xfrm>
              <a:off x="4352662" y="2361924"/>
              <a:ext cx="148790" cy="173923"/>
            </a:xfrm>
            <a:custGeom>
              <a:avLst/>
              <a:gdLst>
                <a:gd name="T0" fmla="*/ 10 w 63"/>
                <a:gd name="T1" fmla="*/ 41 h 73"/>
                <a:gd name="T2" fmla="*/ 12 w 63"/>
                <a:gd name="T3" fmla="*/ 55 h 73"/>
                <a:gd name="T4" fmla="*/ 29 w 63"/>
                <a:gd name="T5" fmla="*/ 54 h 73"/>
                <a:gd name="T6" fmla="*/ 38 w 63"/>
                <a:gd name="T7" fmla="*/ 66 h 73"/>
                <a:gd name="T8" fmla="*/ 52 w 63"/>
                <a:gd name="T9" fmla="*/ 45 h 73"/>
                <a:gd name="T10" fmla="*/ 55 w 63"/>
                <a:gd name="T11" fmla="*/ 40 h 73"/>
                <a:gd name="T12" fmla="*/ 43 w 63"/>
                <a:gd name="T13" fmla="*/ 28 h 73"/>
                <a:gd name="T14" fmla="*/ 48 w 63"/>
                <a:gd name="T15" fmla="*/ 25 h 73"/>
                <a:gd name="T16" fmla="*/ 57 w 63"/>
                <a:gd name="T17" fmla="*/ 12 h 73"/>
                <a:gd name="T18" fmla="*/ 48 w 63"/>
                <a:gd name="T19" fmla="*/ 1 h 73"/>
                <a:gd name="T20" fmla="*/ 34 w 63"/>
                <a:gd name="T21" fmla="*/ 11 h 73"/>
                <a:gd name="T22" fmla="*/ 34 w 63"/>
                <a:gd name="T23" fmla="*/ 20 h 73"/>
                <a:gd name="T24" fmla="*/ 23 w 63"/>
                <a:gd name="T25" fmla="*/ 9 h 73"/>
                <a:gd name="T26" fmla="*/ 18 w 63"/>
                <a:gd name="T27" fmla="*/ 14 h 73"/>
                <a:gd name="T28" fmla="*/ 2 w 63"/>
                <a:gd name="T29" fmla="*/ 25 h 73"/>
                <a:gd name="T30" fmla="*/ 10 w 63"/>
                <a:gd name="T31" fmla="*/ 4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73">
                  <a:moveTo>
                    <a:pt x="10" y="41"/>
                  </a:moveTo>
                  <a:cubicBezTo>
                    <a:pt x="9" y="52"/>
                    <a:pt x="0" y="54"/>
                    <a:pt x="12" y="55"/>
                  </a:cubicBezTo>
                  <a:cubicBezTo>
                    <a:pt x="24" y="56"/>
                    <a:pt x="29" y="54"/>
                    <a:pt x="29" y="54"/>
                  </a:cubicBezTo>
                  <a:cubicBezTo>
                    <a:pt x="29" y="54"/>
                    <a:pt x="37" y="73"/>
                    <a:pt x="38" y="66"/>
                  </a:cubicBezTo>
                  <a:cubicBezTo>
                    <a:pt x="40" y="60"/>
                    <a:pt x="50" y="46"/>
                    <a:pt x="52" y="45"/>
                  </a:cubicBezTo>
                  <a:cubicBezTo>
                    <a:pt x="54" y="45"/>
                    <a:pt x="63" y="45"/>
                    <a:pt x="55" y="40"/>
                  </a:cubicBezTo>
                  <a:cubicBezTo>
                    <a:pt x="47" y="35"/>
                    <a:pt x="40" y="28"/>
                    <a:pt x="43" y="28"/>
                  </a:cubicBezTo>
                  <a:cubicBezTo>
                    <a:pt x="46" y="27"/>
                    <a:pt x="53" y="28"/>
                    <a:pt x="48" y="25"/>
                  </a:cubicBezTo>
                  <a:cubicBezTo>
                    <a:pt x="43" y="21"/>
                    <a:pt x="57" y="12"/>
                    <a:pt x="57" y="12"/>
                  </a:cubicBezTo>
                  <a:cubicBezTo>
                    <a:pt x="57" y="12"/>
                    <a:pt x="49" y="0"/>
                    <a:pt x="48" y="1"/>
                  </a:cubicBezTo>
                  <a:cubicBezTo>
                    <a:pt x="47" y="1"/>
                    <a:pt x="34" y="6"/>
                    <a:pt x="34" y="11"/>
                  </a:cubicBezTo>
                  <a:cubicBezTo>
                    <a:pt x="34" y="16"/>
                    <a:pt x="34" y="20"/>
                    <a:pt x="34" y="20"/>
                  </a:cubicBezTo>
                  <a:cubicBezTo>
                    <a:pt x="34" y="20"/>
                    <a:pt x="25" y="8"/>
                    <a:pt x="23" y="9"/>
                  </a:cubicBezTo>
                  <a:cubicBezTo>
                    <a:pt x="21" y="10"/>
                    <a:pt x="18" y="14"/>
                    <a:pt x="18" y="14"/>
                  </a:cubicBezTo>
                  <a:cubicBezTo>
                    <a:pt x="2" y="25"/>
                    <a:pt x="2" y="25"/>
                    <a:pt x="2" y="25"/>
                  </a:cubicBezTo>
                  <a:cubicBezTo>
                    <a:pt x="2" y="25"/>
                    <a:pt x="11" y="30"/>
                    <a:pt x="10" y="4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8" name="Freeform 47">
              <a:extLst>
                <a:ext uri="{FF2B5EF4-FFF2-40B4-BE49-F238E27FC236}">
                  <a16:creationId xmlns:a16="http://schemas.microsoft.com/office/drawing/2014/main" id="{E53BD317-8A1F-4D4D-B2CA-71E9A21AD90A}"/>
                </a:ext>
              </a:extLst>
            </p:cNvPr>
            <p:cNvSpPr>
              <a:spLocks/>
            </p:cNvSpPr>
            <p:nvPr/>
          </p:nvSpPr>
          <p:spPr bwMode="auto">
            <a:xfrm>
              <a:off x="4342609" y="2506692"/>
              <a:ext cx="192018" cy="52278"/>
            </a:xfrm>
            <a:custGeom>
              <a:avLst/>
              <a:gdLst>
                <a:gd name="T0" fmla="*/ 66 w 81"/>
                <a:gd name="T1" fmla="*/ 0 h 22"/>
                <a:gd name="T2" fmla="*/ 49 w 81"/>
                <a:gd name="T3" fmla="*/ 6 h 22"/>
                <a:gd name="T4" fmla="*/ 35 w 81"/>
                <a:gd name="T5" fmla="*/ 9 h 22"/>
                <a:gd name="T6" fmla="*/ 10 w 81"/>
                <a:gd name="T7" fmla="*/ 2 h 22"/>
                <a:gd name="T8" fmla="*/ 10 w 81"/>
                <a:gd name="T9" fmla="*/ 12 h 22"/>
                <a:gd name="T10" fmla="*/ 30 w 81"/>
                <a:gd name="T11" fmla="*/ 22 h 22"/>
                <a:gd name="T12" fmla="*/ 63 w 81"/>
                <a:gd name="T13" fmla="*/ 15 h 22"/>
                <a:gd name="T14" fmla="*/ 66 w 81"/>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22">
                  <a:moveTo>
                    <a:pt x="66" y="0"/>
                  </a:moveTo>
                  <a:cubicBezTo>
                    <a:pt x="49" y="6"/>
                    <a:pt x="49" y="6"/>
                    <a:pt x="49" y="6"/>
                  </a:cubicBezTo>
                  <a:cubicBezTo>
                    <a:pt x="49" y="6"/>
                    <a:pt x="39" y="10"/>
                    <a:pt x="35" y="9"/>
                  </a:cubicBezTo>
                  <a:cubicBezTo>
                    <a:pt x="31" y="9"/>
                    <a:pt x="15" y="2"/>
                    <a:pt x="10" y="2"/>
                  </a:cubicBezTo>
                  <a:cubicBezTo>
                    <a:pt x="0" y="2"/>
                    <a:pt x="2" y="13"/>
                    <a:pt x="10" y="12"/>
                  </a:cubicBezTo>
                  <a:cubicBezTo>
                    <a:pt x="18" y="10"/>
                    <a:pt x="30" y="22"/>
                    <a:pt x="30" y="22"/>
                  </a:cubicBezTo>
                  <a:cubicBezTo>
                    <a:pt x="30" y="22"/>
                    <a:pt x="46" y="19"/>
                    <a:pt x="63" y="15"/>
                  </a:cubicBezTo>
                  <a:cubicBezTo>
                    <a:pt x="81" y="12"/>
                    <a:pt x="66" y="0"/>
                    <a:pt x="66" y="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9" name="Freeform 48">
              <a:extLst>
                <a:ext uri="{FF2B5EF4-FFF2-40B4-BE49-F238E27FC236}">
                  <a16:creationId xmlns:a16="http://schemas.microsoft.com/office/drawing/2014/main" id="{E9F9BD5D-55CF-48BD-9CCB-6E91D53E7C61}"/>
                </a:ext>
              </a:extLst>
            </p:cNvPr>
            <p:cNvSpPr>
              <a:spLocks noEditPoints="1"/>
            </p:cNvSpPr>
            <p:nvPr/>
          </p:nvSpPr>
          <p:spPr bwMode="auto">
            <a:xfrm>
              <a:off x="5330850" y="1951749"/>
              <a:ext cx="562986" cy="253344"/>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5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5" y="52"/>
                    <a:pt x="7" y="55"/>
                  </a:cubicBezTo>
                  <a:cubicBezTo>
                    <a:pt x="0" y="57"/>
                    <a:pt x="9" y="74"/>
                    <a:pt x="9" y="74"/>
                  </a:cubicBezTo>
                  <a:cubicBezTo>
                    <a:pt x="15" y="87"/>
                    <a:pt x="15" y="87"/>
                    <a:pt x="15" y="87"/>
                  </a:cubicBezTo>
                  <a:cubicBezTo>
                    <a:pt x="15"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0" name="Freeform 49">
              <a:extLst>
                <a:ext uri="{FF2B5EF4-FFF2-40B4-BE49-F238E27FC236}">
                  <a16:creationId xmlns:a16="http://schemas.microsoft.com/office/drawing/2014/main" id="{BAE33DB0-973B-4D31-A369-A91D72F07082}"/>
                </a:ext>
              </a:extLst>
            </p:cNvPr>
            <p:cNvSpPr>
              <a:spLocks/>
            </p:cNvSpPr>
            <p:nvPr/>
          </p:nvSpPr>
          <p:spPr bwMode="auto">
            <a:xfrm>
              <a:off x="5107666" y="3915162"/>
              <a:ext cx="190008" cy="214137"/>
            </a:xfrm>
            <a:custGeom>
              <a:avLst/>
              <a:gdLst>
                <a:gd name="T0" fmla="*/ 79 w 80"/>
                <a:gd name="T1" fmla="*/ 27 h 90"/>
                <a:gd name="T2" fmla="*/ 73 w 80"/>
                <a:gd name="T3" fmla="*/ 31 h 90"/>
                <a:gd name="T4" fmla="*/ 65 w 80"/>
                <a:gd name="T5" fmla="*/ 17 h 90"/>
                <a:gd name="T6" fmla="*/ 56 w 80"/>
                <a:gd name="T7" fmla="*/ 10 h 90"/>
                <a:gd name="T8" fmla="*/ 46 w 80"/>
                <a:gd name="T9" fmla="*/ 0 h 90"/>
                <a:gd name="T10" fmla="*/ 29 w 80"/>
                <a:gd name="T11" fmla="*/ 0 h 90"/>
                <a:gd name="T12" fmla="*/ 29 w 80"/>
                <a:gd name="T13" fmla="*/ 15 h 90"/>
                <a:gd name="T14" fmla="*/ 18 w 80"/>
                <a:gd name="T15" fmla="*/ 14 h 90"/>
                <a:gd name="T16" fmla="*/ 9 w 80"/>
                <a:gd name="T17" fmla="*/ 29 h 90"/>
                <a:gd name="T18" fmla="*/ 4 w 80"/>
                <a:gd name="T19" fmla="*/ 29 h 90"/>
                <a:gd name="T20" fmla="*/ 3 w 80"/>
                <a:gd name="T21" fmla="*/ 39 h 90"/>
                <a:gd name="T22" fmla="*/ 17 w 80"/>
                <a:gd name="T23" fmla="*/ 48 h 90"/>
                <a:gd name="T24" fmla="*/ 4 w 80"/>
                <a:gd name="T25" fmla="*/ 64 h 90"/>
                <a:gd name="T26" fmla="*/ 6 w 80"/>
                <a:gd name="T27" fmla="*/ 65 h 90"/>
                <a:gd name="T28" fmla="*/ 24 w 80"/>
                <a:gd name="T29" fmla="*/ 62 h 90"/>
                <a:gd name="T30" fmla="*/ 24 w 80"/>
                <a:gd name="T31" fmla="*/ 74 h 90"/>
                <a:gd name="T32" fmla="*/ 41 w 80"/>
                <a:gd name="T33" fmla="*/ 90 h 90"/>
                <a:gd name="T34" fmla="*/ 48 w 80"/>
                <a:gd name="T35" fmla="*/ 81 h 90"/>
                <a:gd name="T36" fmla="*/ 46 w 80"/>
                <a:gd name="T37" fmla="*/ 71 h 90"/>
                <a:gd name="T38" fmla="*/ 40 w 80"/>
                <a:gd name="T39" fmla="*/ 74 h 90"/>
                <a:gd name="T40" fmla="*/ 31 w 80"/>
                <a:gd name="T41" fmla="*/ 68 h 90"/>
                <a:gd name="T42" fmla="*/ 46 w 80"/>
                <a:gd name="T43" fmla="*/ 68 h 90"/>
                <a:gd name="T44" fmla="*/ 52 w 80"/>
                <a:gd name="T45" fmla="*/ 63 h 90"/>
                <a:gd name="T46" fmla="*/ 54 w 80"/>
                <a:gd name="T47" fmla="*/ 49 h 90"/>
                <a:gd name="T48" fmla="*/ 72 w 80"/>
                <a:gd name="T49" fmla="*/ 59 h 90"/>
                <a:gd name="T50" fmla="*/ 78 w 80"/>
                <a:gd name="T51" fmla="*/ 53 h 90"/>
                <a:gd name="T52" fmla="*/ 80 w 80"/>
                <a:gd name="T53" fmla="*/ 56 h 90"/>
                <a:gd name="T54" fmla="*/ 79 w 80"/>
                <a:gd name="T55"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1" name="Freeform 50">
              <a:extLst>
                <a:ext uri="{FF2B5EF4-FFF2-40B4-BE49-F238E27FC236}">
                  <a16:creationId xmlns:a16="http://schemas.microsoft.com/office/drawing/2014/main" id="{AD8EAC78-3542-40A1-93B2-6CEFCB13E82D}"/>
                </a:ext>
              </a:extLst>
            </p:cNvPr>
            <p:cNvSpPr>
              <a:spLocks noEditPoints="1"/>
            </p:cNvSpPr>
            <p:nvPr/>
          </p:nvSpPr>
          <p:spPr bwMode="auto">
            <a:xfrm>
              <a:off x="5142854" y="3575362"/>
              <a:ext cx="439330" cy="553938"/>
            </a:xfrm>
            <a:custGeom>
              <a:avLst/>
              <a:gdLst>
                <a:gd name="T0" fmla="*/ 167 w 185"/>
                <a:gd name="T1" fmla="*/ 152 h 233"/>
                <a:gd name="T2" fmla="*/ 160 w 185"/>
                <a:gd name="T3" fmla="*/ 140 h 233"/>
                <a:gd name="T4" fmla="*/ 166 w 185"/>
                <a:gd name="T5" fmla="*/ 120 h 233"/>
                <a:gd name="T6" fmla="*/ 161 w 185"/>
                <a:gd name="T7" fmla="*/ 102 h 233"/>
                <a:gd name="T8" fmla="*/ 171 w 185"/>
                <a:gd name="T9" fmla="*/ 88 h 233"/>
                <a:gd name="T10" fmla="*/ 139 w 185"/>
                <a:gd name="T11" fmla="*/ 91 h 233"/>
                <a:gd name="T12" fmla="*/ 117 w 185"/>
                <a:gd name="T13" fmla="*/ 82 h 233"/>
                <a:gd name="T14" fmla="*/ 115 w 185"/>
                <a:gd name="T15" fmla="*/ 56 h 233"/>
                <a:gd name="T16" fmla="*/ 91 w 185"/>
                <a:gd name="T17" fmla="*/ 48 h 233"/>
                <a:gd name="T18" fmla="*/ 77 w 185"/>
                <a:gd name="T19" fmla="*/ 27 h 233"/>
                <a:gd name="T20" fmla="*/ 48 w 185"/>
                <a:gd name="T21" fmla="*/ 6 h 233"/>
                <a:gd name="T22" fmla="*/ 18 w 185"/>
                <a:gd name="T23" fmla="*/ 17 h 233"/>
                <a:gd name="T24" fmla="*/ 0 w 185"/>
                <a:gd name="T25" fmla="*/ 21 h 233"/>
                <a:gd name="T26" fmla="*/ 6 w 185"/>
                <a:gd name="T27" fmla="*/ 40 h 233"/>
                <a:gd name="T28" fmla="*/ 8 w 185"/>
                <a:gd name="T29" fmla="*/ 53 h 233"/>
                <a:gd name="T30" fmla="*/ 12 w 185"/>
                <a:gd name="T31" fmla="*/ 65 h 233"/>
                <a:gd name="T32" fmla="*/ 5 w 185"/>
                <a:gd name="T33" fmla="*/ 72 h 233"/>
                <a:gd name="T34" fmla="*/ 27 w 185"/>
                <a:gd name="T35" fmla="*/ 76 h 233"/>
                <a:gd name="T36" fmla="*/ 15 w 185"/>
                <a:gd name="T37" fmla="*/ 106 h 233"/>
                <a:gd name="T38" fmla="*/ 37 w 185"/>
                <a:gd name="T39" fmla="*/ 118 h 233"/>
                <a:gd name="T40" fmla="*/ 35 w 185"/>
                <a:gd name="T41" fmla="*/ 140 h 233"/>
                <a:gd name="T42" fmla="*/ 41 w 185"/>
                <a:gd name="T43" fmla="*/ 153 h 233"/>
                <a:gd name="T44" fmla="*/ 58 w 185"/>
                <a:gd name="T45" fmla="*/ 174 h 233"/>
                <a:gd name="T46" fmla="*/ 65 w 185"/>
                <a:gd name="T47" fmla="*/ 199 h 233"/>
                <a:gd name="T48" fmla="*/ 71 w 185"/>
                <a:gd name="T49" fmla="*/ 211 h 233"/>
                <a:gd name="T50" fmla="*/ 84 w 185"/>
                <a:gd name="T51" fmla="*/ 221 h 233"/>
                <a:gd name="T52" fmla="*/ 95 w 185"/>
                <a:gd name="T53" fmla="*/ 229 h 233"/>
                <a:gd name="T54" fmla="*/ 112 w 185"/>
                <a:gd name="T55" fmla="*/ 221 h 233"/>
                <a:gd name="T56" fmla="*/ 128 w 185"/>
                <a:gd name="T57" fmla="*/ 213 h 233"/>
                <a:gd name="T58" fmla="*/ 158 w 185"/>
                <a:gd name="T59" fmla="*/ 207 h 233"/>
                <a:gd name="T60" fmla="*/ 165 w 185"/>
                <a:gd name="T61" fmla="*/ 192 h 233"/>
                <a:gd name="T62" fmla="*/ 177 w 185"/>
                <a:gd name="T63" fmla="*/ 180 h 233"/>
                <a:gd name="T64" fmla="*/ 180 w 185"/>
                <a:gd name="T65" fmla="*/ 159 h 233"/>
                <a:gd name="T66" fmla="*/ 27 w 185"/>
                <a:gd name="T67" fmla="*/ 144 h 233"/>
                <a:gd name="T68" fmla="*/ 24 w 185"/>
                <a:gd name="T69" fmla="*/ 144 h 233"/>
                <a:gd name="T70" fmla="*/ 24 w 185"/>
                <a:gd name="T71"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2" name="Freeform 211">
              <a:extLst>
                <a:ext uri="{FF2B5EF4-FFF2-40B4-BE49-F238E27FC236}">
                  <a16:creationId xmlns:a16="http://schemas.microsoft.com/office/drawing/2014/main" id="{6A9330B1-4080-4F87-A31D-250901C1EAFF}"/>
                </a:ext>
              </a:extLst>
            </p:cNvPr>
            <p:cNvSpPr>
              <a:spLocks noEditPoints="1"/>
            </p:cNvSpPr>
            <p:nvPr/>
          </p:nvSpPr>
          <p:spPr bwMode="gray">
            <a:xfrm>
              <a:off x="5291122" y="3928079"/>
              <a:ext cx="199056" cy="200528"/>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3" name="Freeform 45">
              <a:extLst>
                <a:ext uri="{FF2B5EF4-FFF2-40B4-BE49-F238E27FC236}">
                  <a16:creationId xmlns:a16="http://schemas.microsoft.com/office/drawing/2014/main" id="{25B6B575-E1AD-430C-94B5-3C660A399A2B}"/>
                </a:ext>
              </a:extLst>
            </p:cNvPr>
            <p:cNvSpPr>
              <a:spLocks/>
            </p:cNvSpPr>
            <p:nvPr/>
          </p:nvSpPr>
          <p:spPr bwMode="auto">
            <a:xfrm>
              <a:off x="2677394" y="1613004"/>
              <a:ext cx="57690" cy="45719"/>
            </a:xfrm>
            <a:custGeom>
              <a:avLst/>
              <a:gdLst>
                <a:gd name="T0" fmla="*/ 0 w 24"/>
                <a:gd name="T1" fmla="*/ 0 h 34"/>
                <a:gd name="T2" fmla="*/ 2 w 24"/>
                <a:gd name="T3" fmla="*/ 24 h 34"/>
                <a:gd name="T4" fmla="*/ 18 w 24"/>
                <a:gd name="T5" fmla="*/ 34 h 34"/>
                <a:gd name="T6" fmla="*/ 24 w 24"/>
                <a:gd name="T7" fmla="*/ 16 h 34"/>
                <a:gd name="T8" fmla="*/ 12 w 24"/>
                <a:gd name="T9" fmla="*/ 2 h 34"/>
                <a:gd name="T10" fmla="*/ 0 w 24"/>
                <a:gd name="T11" fmla="*/ 0 h 34"/>
                <a:gd name="connsiteX0" fmla="*/ 106 w 13055"/>
                <a:gd name="connsiteY0" fmla="*/ 0 h 12751"/>
                <a:gd name="connsiteX1" fmla="*/ 939 w 13055"/>
                <a:gd name="connsiteY1" fmla="*/ 7059 h 12751"/>
                <a:gd name="connsiteX2" fmla="*/ 12325 w 13055"/>
                <a:gd name="connsiteY2" fmla="*/ 12751 h 12751"/>
                <a:gd name="connsiteX3" fmla="*/ 10106 w 13055"/>
                <a:gd name="connsiteY3" fmla="*/ 4706 h 12751"/>
                <a:gd name="connsiteX4" fmla="*/ 5106 w 13055"/>
                <a:gd name="connsiteY4" fmla="*/ 588 h 12751"/>
                <a:gd name="connsiteX5" fmla="*/ 106 w 13055"/>
                <a:gd name="connsiteY5" fmla="*/ 0 h 12751"/>
                <a:gd name="connsiteX0" fmla="*/ 106 w 12487"/>
                <a:gd name="connsiteY0" fmla="*/ 0 h 12771"/>
                <a:gd name="connsiteX1" fmla="*/ 939 w 12487"/>
                <a:gd name="connsiteY1" fmla="*/ 7059 h 12771"/>
                <a:gd name="connsiteX2" fmla="*/ 12325 w 12487"/>
                <a:gd name="connsiteY2" fmla="*/ 12751 h 12771"/>
                <a:gd name="connsiteX3" fmla="*/ 7961 w 12487"/>
                <a:gd name="connsiteY3" fmla="*/ 5012 h 12771"/>
                <a:gd name="connsiteX4" fmla="*/ 5106 w 12487"/>
                <a:gd name="connsiteY4" fmla="*/ 588 h 12771"/>
                <a:gd name="connsiteX5" fmla="*/ 106 w 12487"/>
                <a:gd name="connsiteY5" fmla="*/ 0 h 12771"/>
                <a:gd name="connsiteX0" fmla="*/ 393 w 12345"/>
                <a:gd name="connsiteY0" fmla="*/ 3996 h 12180"/>
                <a:gd name="connsiteX1" fmla="*/ 797 w 12345"/>
                <a:gd name="connsiteY1" fmla="*/ 6471 h 12180"/>
                <a:gd name="connsiteX2" fmla="*/ 12183 w 12345"/>
                <a:gd name="connsiteY2" fmla="*/ 12163 h 12180"/>
                <a:gd name="connsiteX3" fmla="*/ 7819 w 12345"/>
                <a:gd name="connsiteY3" fmla="*/ 4424 h 12180"/>
                <a:gd name="connsiteX4" fmla="*/ 4964 w 12345"/>
                <a:gd name="connsiteY4" fmla="*/ 0 h 12180"/>
                <a:gd name="connsiteX5" fmla="*/ 393 w 12345"/>
                <a:gd name="connsiteY5" fmla="*/ 3996 h 12180"/>
                <a:gd name="connsiteX0" fmla="*/ 393 w 12345"/>
                <a:gd name="connsiteY0" fmla="*/ 2162 h 10346"/>
                <a:gd name="connsiteX1" fmla="*/ 797 w 12345"/>
                <a:gd name="connsiteY1" fmla="*/ 4637 h 10346"/>
                <a:gd name="connsiteX2" fmla="*/ 12183 w 12345"/>
                <a:gd name="connsiteY2" fmla="*/ 10329 h 10346"/>
                <a:gd name="connsiteX3" fmla="*/ 7819 w 12345"/>
                <a:gd name="connsiteY3" fmla="*/ 2590 h 10346"/>
                <a:gd name="connsiteX4" fmla="*/ 5822 w 12345"/>
                <a:gd name="connsiteY4" fmla="*/ 0 h 10346"/>
                <a:gd name="connsiteX5" fmla="*/ 393 w 12345"/>
                <a:gd name="connsiteY5" fmla="*/ 2162 h 10346"/>
                <a:gd name="connsiteX0" fmla="*/ 330 w 11449"/>
                <a:gd name="connsiteY0" fmla="*/ 2162 h 8217"/>
                <a:gd name="connsiteX1" fmla="*/ 734 w 11449"/>
                <a:gd name="connsiteY1" fmla="*/ 4637 h 8217"/>
                <a:gd name="connsiteX2" fmla="*/ 11262 w 11449"/>
                <a:gd name="connsiteY2" fmla="*/ 8190 h 8217"/>
                <a:gd name="connsiteX3" fmla="*/ 7756 w 11449"/>
                <a:gd name="connsiteY3" fmla="*/ 2590 h 8217"/>
                <a:gd name="connsiteX4" fmla="*/ 5759 w 11449"/>
                <a:gd name="connsiteY4" fmla="*/ 0 h 8217"/>
                <a:gd name="connsiteX5" fmla="*/ 330 w 11449"/>
                <a:gd name="connsiteY5" fmla="*/ 2162 h 8217"/>
                <a:gd name="connsiteX0" fmla="*/ 0 w 9601"/>
                <a:gd name="connsiteY0" fmla="*/ 2631 h 10553"/>
                <a:gd name="connsiteX1" fmla="*/ 3350 w 9601"/>
                <a:gd name="connsiteY1" fmla="*/ 9362 h 10553"/>
                <a:gd name="connsiteX2" fmla="*/ 9549 w 9601"/>
                <a:gd name="connsiteY2" fmla="*/ 9967 h 10553"/>
                <a:gd name="connsiteX3" fmla="*/ 6486 w 9601"/>
                <a:gd name="connsiteY3" fmla="*/ 3152 h 10553"/>
                <a:gd name="connsiteX4" fmla="*/ 4742 w 9601"/>
                <a:gd name="connsiteY4" fmla="*/ 0 h 10553"/>
                <a:gd name="connsiteX5" fmla="*/ 0 w 9601"/>
                <a:gd name="connsiteY5" fmla="*/ 2631 h 1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01" h="10553">
                  <a:moveTo>
                    <a:pt x="0" y="2631"/>
                  </a:moveTo>
                  <a:cubicBezTo>
                    <a:pt x="728" y="11222"/>
                    <a:pt x="1759" y="8139"/>
                    <a:pt x="3350" y="9362"/>
                  </a:cubicBezTo>
                  <a:cubicBezTo>
                    <a:pt x="4942" y="10585"/>
                    <a:pt x="9026" y="11002"/>
                    <a:pt x="9549" y="9967"/>
                  </a:cubicBezTo>
                  <a:cubicBezTo>
                    <a:pt x="10072" y="8932"/>
                    <a:pt x="6486" y="3152"/>
                    <a:pt x="6486" y="3152"/>
                  </a:cubicBezTo>
                  <a:lnTo>
                    <a:pt x="4742" y="0"/>
                  </a:lnTo>
                  <a:lnTo>
                    <a:pt x="0" y="2631"/>
                  </a:lnTo>
                  <a:close/>
                </a:path>
              </a:pathLst>
            </a:custGeom>
            <a:solidFill>
              <a:srgbClr val="D9D9D9"/>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grpSp>
      <p:sp>
        <p:nvSpPr>
          <p:cNvPr id="10" name="Title 9">
            <a:extLst>
              <a:ext uri="{FF2B5EF4-FFF2-40B4-BE49-F238E27FC236}">
                <a16:creationId xmlns:a16="http://schemas.microsoft.com/office/drawing/2014/main" id="{9F3C65ED-A17F-4254-99E8-275B4DB79266}"/>
              </a:ext>
            </a:extLst>
          </p:cNvPr>
          <p:cNvSpPr>
            <a:spLocks noGrp="1"/>
          </p:cNvSpPr>
          <p:nvPr>
            <p:ph type="title"/>
          </p:nvPr>
        </p:nvSpPr>
        <p:spPr/>
        <p:txBody>
          <a:bodyPr/>
          <a:lstStyle/>
          <a:p>
            <a:r>
              <a:rPr lang="en-GB" dirty="0"/>
              <a:t>FIA WEC 2023 Broadcast Partners</a:t>
            </a:r>
          </a:p>
        </p:txBody>
      </p:sp>
      <p:sp>
        <p:nvSpPr>
          <p:cNvPr id="158" name="Slide Number Placeholder 2">
            <a:extLst>
              <a:ext uri="{FF2B5EF4-FFF2-40B4-BE49-F238E27FC236}">
                <a16:creationId xmlns:a16="http://schemas.microsoft.com/office/drawing/2014/main" id="{0426ADB9-A609-46D1-963C-E68C38CA164B}"/>
              </a:ext>
            </a:extLst>
          </p:cNvPr>
          <p:cNvSpPr>
            <a:spLocks noGrp="1"/>
          </p:cNvSpPr>
          <p:nvPr>
            <p:ph type="sldNum" sz="quarter" idx="12"/>
          </p:nvPr>
        </p:nvSpPr>
        <p:spPr/>
        <p:txBody>
          <a:bodyPr/>
          <a:lstStyle/>
          <a:p>
            <a:fld id="{9B60B346-FC99-4236-B943-65AE761B958F}" type="slidenum">
              <a:rPr lang="de-CH" smtClean="0"/>
              <a:t>3</a:t>
            </a:fld>
            <a:endParaRPr lang="de-CH" dirty="0"/>
          </a:p>
        </p:txBody>
      </p:sp>
      <p:sp>
        <p:nvSpPr>
          <p:cNvPr id="2" name="Footer Placeholder 1">
            <a:extLst>
              <a:ext uri="{FF2B5EF4-FFF2-40B4-BE49-F238E27FC236}">
                <a16:creationId xmlns:a16="http://schemas.microsoft.com/office/drawing/2014/main" id="{CD6571C0-7713-4980-99C1-F3D1BD06AB14}"/>
              </a:ext>
            </a:extLst>
          </p:cNvPr>
          <p:cNvSpPr>
            <a:spLocks noGrp="1"/>
          </p:cNvSpPr>
          <p:nvPr>
            <p:ph type="ftr" sz="quarter" idx="14"/>
          </p:nvPr>
        </p:nvSpPr>
        <p:spPr/>
        <p:txBody>
          <a:bodyPr/>
          <a:lstStyle/>
          <a:p>
            <a:r>
              <a:rPr lang="de-CH" dirty="0"/>
              <a:t>#</a:t>
            </a:r>
            <a:r>
              <a:rPr lang="de-CH" dirty="0" err="1"/>
              <a:t>AllAboutSports</a:t>
            </a:r>
            <a:endParaRPr lang="de-CH" dirty="0"/>
          </a:p>
        </p:txBody>
      </p:sp>
      <p:grpSp>
        <p:nvGrpSpPr>
          <p:cNvPr id="57" name="Group 56">
            <a:extLst>
              <a:ext uri="{FF2B5EF4-FFF2-40B4-BE49-F238E27FC236}">
                <a16:creationId xmlns:a16="http://schemas.microsoft.com/office/drawing/2014/main" id="{7D701191-7D39-458B-AABD-6B8B9D2B98E2}"/>
              </a:ext>
            </a:extLst>
          </p:cNvPr>
          <p:cNvGrpSpPr/>
          <p:nvPr/>
        </p:nvGrpSpPr>
        <p:grpSpPr>
          <a:xfrm>
            <a:off x="2166804" y="2795135"/>
            <a:ext cx="1581151" cy="288000"/>
            <a:chOff x="2732087" y="1679089"/>
            <a:chExt cx="1581151" cy="288000"/>
          </a:xfrm>
          <a:solidFill>
            <a:schemeClr val="bg2"/>
          </a:solidFill>
        </p:grpSpPr>
        <p:sp>
          <p:nvSpPr>
            <p:cNvPr id="17" name="Round Diagonal Corner Rectangle 31">
              <a:extLst>
                <a:ext uri="{FF2B5EF4-FFF2-40B4-BE49-F238E27FC236}">
                  <a16:creationId xmlns:a16="http://schemas.microsoft.com/office/drawing/2014/main" id="{E6E2A706-FBBF-4BCF-8615-F9893CCD4E1F}"/>
                </a:ext>
              </a:extLst>
            </p:cNvPr>
            <p:cNvSpPr/>
            <p:nvPr/>
          </p:nvSpPr>
          <p:spPr bwMode="blackWhite">
            <a:xfrm>
              <a:off x="2732087" y="1679089"/>
              <a:ext cx="648000" cy="288000"/>
            </a:xfrm>
            <a:prstGeom prst="rect">
              <a:avLst/>
            </a:prstGeom>
            <a:grp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19" name="Straight Connector 48">
              <a:extLst>
                <a:ext uri="{FF2B5EF4-FFF2-40B4-BE49-F238E27FC236}">
                  <a16:creationId xmlns:a16="http://schemas.microsoft.com/office/drawing/2014/main" id="{08D38A37-0575-47EC-85AD-499CEB4B8BFE}"/>
                </a:ext>
              </a:extLst>
            </p:cNvPr>
            <p:cNvCxnSpPr>
              <a:cxnSpLocks noChangeShapeType="1"/>
              <a:stCxn id="17" idx="3"/>
            </p:cNvCxnSpPr>
            <p:nvPr/>
          </p:nvCxnSpPr>
          <p:spPr bwMode="auto">
            <a:xfrm>
              <a:off x="3380087" y="1823089"/>
              <a:ext cx="933151" cy="108493"/>
            </a:xfrm>
            <a:prstGeom prst="line">
              <a:avLst/>
            </a:prstGeom>
            <a:grpFill/>
            <a:ln w="12700" algn="ctr">
              <a:solidFill>
                <a:schemeClr val="tx2"/>
              </a:solidFill>
              <a:round/>
              <a:headEnd/>
              <a:tailEnd type="oval" w="sm" len="sm"/>
            </a:ln>
            <a:effectLst/>
          </p:spPr>
        </p:cxnSp>
      </p:grpSp>
      <p:grpSp>
        <p:nvGrpSpPr>
          <p:cNvPr id="47" name="Group 46">
            <a:extLst>
              <a:ext uri="{FF2B5EF4-FFF2-40B4-BE49-F238E27FC236}">
                <a16:creationId xmlns:a16="http://schemas.microsoft.com/office/drawing/2014/main" id="{6EEAF423-BD90-4290-8AEE-564257F2014E}"/>
              </a:ext>
            </a:extLst>
          </p:cNvPr>
          <p:cNvGrpSpPr/>
          <p:nvPr/>
        </p:nvGrpSpPr>
        <p:grpSpPr>
          <a:xfrm>
            <a:off x="2474144" y="1705291"/>
            <a:ext cx="1383587" cy="1104561"/>
            <a:chOff x="2732087" y="1000995"/>
            <a:chExt cx="1383587" cy="1104561"/>
          </a:xfrm>
          <a:solidFill>
            <a:schemeClr val="bg2"/>
          </a:solidFill>
        </p:grpSpPr>
        <p:cxnSp>
          <p:nvCxnSpPr>
            <p:cNvPr id="49" name="Straight Connector 243">
              <a:extLst>
                <a:ext uri="{FF2B5EF4-FFF2-40B4-BE49-F238E27FC236}">
                  <a16:creationId xmlns:a16="http://schemas.microsoft.com/office/drawing/2014/main" id="{0CD7924A-EA9A-452F-82BD-8D97D0C67C8E}"/>
                </a:ext>
              </a:extLst>
            </p:cNvPr>
            <p:cNvCxnSpPr>
              <a:cxnSpLocks noChangeShapeType="1"/>
              <a:stCxn id="50" idx="3"/>
              <a:endCxn id="488" idx="45"/>
            </p:cNvCxnSpPr>
            <p:nvPr/>
          </p:nvCxnSpPr>
          <p:spPr bwMode="auto">
            <a:xfrm>
              <a:off x="3380087" y="1144995"/>
              <a:ext cx="735587" cy="960561"/>
            </a:xfrm>
            <a:prstGeom prst="line">
              <a:avLst/>
            </a:prstGeom>
            <a:grpFill/>
            <a:ln w="12700" algn="ctr">
              <a:solidFill>
                <a:schemeClr val="tx2"/>
              </a:solidFill>
              <a:round/>
              <a:headEnd/>
              <a:tailEnd type="oval" w="sm" len="sm"/>
            </a:ln>
            <a:effectLst/>
          </p:spPr>
        </p:cxnSp>
        <p:sp>
          <p:nvSpPr>
            <p:cNvPr id="50" name="Round Diagonal Corner Rectangle 241">
              <a:extLst>
                <a:ext uri="{FF2B5EF4-FFF2-40B4-BE49-F238E27FC236}">
                  <a16:creationId xmlns:a16="http://schemas.microsoft.com/office/drawing/2014/main" id="{2325AAA2-3D9E-4EDF-96C3-4CDCEFF23ADF}"/>
                </a:ext>
              </a:extLst>
            </p:cNvPr>
            <p:cNvSpPr/>
            <p:nvPr/>
          </p:nvSpPr>
          <p:spPr bwMode="blackWhite">
            <a:xfrm>
              <a:off x="2732087" y="1000995"/>
              <a:ext cx="648000" cy="288000"/>
            </a:xfrm>
            <a:prstGeom prst="rect">
              <a:avLst/>
            </a:prstGeom>
            <a:grp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grpSp>
      <p:grpSp>
        <p:nvGrpSpPr>
          <p:cNvPr id="5" name="Group 4">
            <a:extLst>
              <a:ext uri="{FF2B5EF4-FFF2-40B4-BE49-F238E27FC236}">
                <a16:creationId xmlns:a16="http://schemas.microsoft.com/office/drawing/2014/main" id="{91B6E38A-C23F-4286-8BB3-CC826A9AA811}"/>
              </a:ext>
            </a:extLst>
          </p:cNvPr>
          <p:cNvGrpSpPr/>
          <p:nvPr/>
        </p:nvGrpSpPr>
        <p:grpSpPr>
          <a:xfrm>
            <a:off x="5243520" y="2461892"/>
            <a:ext cx="1461485" cy="354648"/>
            <a:chOff x="4629042" y="1527712"/>
            <a:chExt cx="1461485" cy="354648"/>
          </a:xfrm>
        </p:grpSpPr>
        <p:cxnSp>
          <p:nvCxnSpPr>
            <p:cNvPr id="54" name="Straight Connector 221">
              <a:extLst>
                <a:ext uri="{FF2B5EF4-FFF2-40B4-BE49-F238E27FC236}">
                  <a16:creationId xmlns:a16="http://schemas.microsoft.com/office/drawing/2014/main" id="{49D8B5E7-CB91-4F00-B7E2-9B39A87F34A9}"/>
                </a:ext>
              </a:extLst>
            </p:cNvPr>
            <p:cNvCxnSpPr>
              <a:cxnSpLocks noChangeShapeType="1"/>
              <a:stCxn id="55" idx="1"/>
            </p:cNvCxnSpPr>
            <p:nvPr/>
          </p:nvCxnSpPr>
          <p:spPr bwMode="auto">
            <a:xfrm flipH="1">
              <a:off x="4629042" y="1669000"/>
              <a:ext cx="842360" cy="213360"/>
            </a:xfrm>
            <a:prstGeom prst="line">
              <a:avLst/>
            </a:prstGeom>
            <a:noFill/>
            <a:ln w="12700" algn="ctr">
              <a:solidFill>
                <a:schemeClr val="tx2"/>
              </a:solidFill>
              <a:round/>
              <a:headEnd/>
              <a:tailEnd type="oval" w="sm" len="sm"/>
            </a:ln>
            <a:effectLst/>
          </p:spPr>
        </p:cxnSp>
        <p:sp>
          <p:nvSpPr>
            <p:cNvPr id="55" name="Round Diagonal Corner Rectangle 222">
              <a:extLst>
                <a:ext uri="{FF2B5EF4-FFF2-40B4-BE49-F238E27FC236}">
                  <a16:creationId xmlns:a16="http://schemas.microsoft.com/office/drawing/2014/main" id="{BCDFBF6D-4F8B-4F98-A176-47EFC50512BA}"/>
                </a:ext>
              </a:extLst>
            </p:cNvPr>
            <p:cNvSpPr/>
            <p:nvPr/>
          </p:nvSpPr>
          <p:spPr bwMode="blackWhite">
            <a:xfrm>
              <a:off x="5471402" y="1527712"/>
              <a:ext cx="619125" cy="282575"/>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56" name="Picture 80" descr="File:Logo Polsat.svg">
              <a:extLst>
                <a:ext uri="{FF2B5EF4-FFF2-40B4-BE49-F238E27FC236}">
                  <a16:creationId xmlns:a16="http://schemas.microsoft.com/office/drawing/2014/main" id="{139AE970-69DB-4F79-98FA-63200DC44E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74631" y="1561397"/>
              <a:ext cx="227013" cy="2238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64" name="Straight Connector 177">
            <a:extLst>
              <a:ext uri="{FF2B5EF4-FFF2-40B4-BE49-F238E27FC236}">
                <a16:creationId xmlns:a16="http://schemas.microsoft.com/office/drawing/2014/main" id="{03D1940B-0AC1-465E-8F79-188EEC52266F}"/>
              </a:ext>
            </a:extLst>
          </p:cNvPr>
          <p:cNvCxnSpPr>
            <a:cxnSpLocks/>
            <a:stCxn id="63" idx="0"/>
          </p:cNvCxnSpPr>
          <p:nvPr/>
        </p:nvCxnSpPr>
        <p:spPr bwMode="auto">
          <a:xfrm flipV="1">
            <a:off x="4102475" y="3403265"/>
            <a:ext cx="639251" cy="1169094"/>
          </a:xfrm>
          <a:prstGeom prst="line">
            <a:avLst/>
          </a:prstGeom>
          <a:noFill/>
          <a:ln w="12700" algn="ctr">
            <a:solidFill>
              <a:schemeClr val="tx2"/>
            </a:solidFill>
            <a:round/>
            <a:headEnd/>
            <a:tailEnd type="oval" w="sm" len="sm"/>
          </a:ln>
          <a:effectLst/>
        </p:spPr>
      </p:cxnSp>
      <p:grpSp>
        <p:nvGrpSpPr>
          <p:cNvPr id="15" name="Group 14">
            <a:extLst>
              <a:ext uri="{FF2B5EF4-FFF2-40B4-BE49-F238E27FC236}">
                <a16:creationId xmlns:a16="http://schemas.microsoft.com/office/drawing/2014/main" id="{84EFCB62-D5C5-4756-9D3B-F5BFC37A7EEB}"/>
              </a:ext>
            </a:extLst>
          </p:cNvPr>
          <p:cNvGrpSpPr/>
          <p:nvPr/>
        </p:nvGrpSpPr>
        <p:grpSpPr>
          <a:xfrm>
            <a:off x="3778475" y="4572359"/>
            <a:ext cx="648000" cy="288000"/>
            <a:chOff x="4687101" y="2491482"/>
            <a:chExt cx="648000" cy="288000"/>
          </a:xfrm>
        </p:grpSpPr>
        <p:sp>
          <p:nvSpPr>
            <p:cNvPr id="63" name="Round Diagonal Corner Rectangle 31">
              <a:extLst>
                <a:ext uri="{FF2B5EF4-FFF2-40B4-BE49-F238E27FC236}">
                  <a16:creationId xmlns:a16="http://schemas.microsoft.com/office/drawing/2014/main" id="{D63833A0-56C8-4017-8BAA-187651DB7A19}"/>
                </a:ext>
              </a:extLst>
            </p:cNvPr>
            <p:cNvSpPr/>
            <p:nvPr/>
          </p:nvSpPr>
          <p:spPr bwMode="blackWhite">
            <a:xfrm>
              <a:off x="4687101" y="2491482"/>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65" name="Picture 783" descr="Image result for orf logo">
              <a:extLst>
                <a:ext uri="{FF2B5EF4-FFF2-40B4-BE49-F238E27FC236}">
                  <a16:creationId xmlns:a16="http://schemas.microsoft.com/office/drawing/2014/main" id="{40D56A5F-3584-498C-A900-12C5689A35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4424" y="2527408"/>
              <a:ext cx="187325" cy="809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907" descr="ORF Sport+ | Mihsign Vision | Fandom">
              <a:extLst>
                <a:ext uri="{FF2B5EF4-FFF2-40B4-BE49-F238E27FC236}">
                  <a16:creationId xmlns:a16="http://schemas.microsoft.com/office/drawing/2014/main" id="{143B6B25-3D36-4A36-BBBA-2B269E2CA2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67899" y="2633770"/>
              <a:ext cx="463550" cy="714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9" name="Group 58">
            <a:extLst>
              <a:ext uri="{FF2B5EF4-FFF2-40B4-BE49-F238E27FC236}">
                <a16:creationId xmlns:a16="http://schemas.microsoft.com/office/drawing/2014/main" id="{40F50D78-5128-4F00-B6B1-BC3812D97A87}"/>
              </a:ext>
            </a:extLst>
          </p:cNvPr>
          <p:cNvGrpSpPr/>
          <p:nvPr/>
        </p:nvGrpSpPr>
        <p:grpSpPr>
          <a:xfrm>
            <a:off x="2886666" y="3560123"/>
            <a:ext cx="1204372" cy="1317327"/>
            <a:chOff x="2732087" y="988808"/>
            <a:chExt cx="1204372" cy="1317327"/>
          </a:xfrm>
        </p:grpSpPr>
        <p:sp>
          <p:nvSpPr>
            <p:cNvPr id="67" name="Round Diagonal Corner Rectangle 31">
              <a:extLst>
                <a:ext uri="{FF2B5EF4-FFF2-40B4-BE49-F238E27FC236}">
                  <a16:creationId xmlns:a16="http://schemas.microsoft.com/office/drawing/2014/main" id="{516AC033-942A-496E-8AE5-AC00C64C770D}"/>
                </a:ext>
              </a:extLst>
            </p:cNvPr>
            <p:cNvSpPr/>
            <p:nvPr/>
          </p:nvSpPr>
          <p:spPr bwMode="blackWhite">
            <a:xfrm>
              <a:off x="2732087" y="2018135"/>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68" name="Straight Connector 204">
              <a:extLst>
                <a:ext uri="{FF2B5EF4-FFF2-40B4-BE49-F238E27FC236}">
                  <a16:creationId xmlns:a16="http://schemas.microsoft.com/office/drawing/2014/main" id="{310718D0-106D-4B90-AE02-55A4B479C3D2}"/>
                </a:ext>
              </a:extLst>
            </p:cNvPr>
            <p:cNvCxnSpPr>
              <a:cxnSpLocks/>
              <a:stCxn id="67" idx="3"/>
              <a:endCxn id="482" idx="21"/>
            </p:cNvCxnSpPr>
            <p:nvPr/>
          </p:nvCxnSpPr>
          <p:spPr bwMode="auto">
            <a:xfrm flipV="1">
              <a:off x="3380087" y="988808"/>
              <a:ext cx="556372" cy="1173327"/>
            </a:xfrm>
            <a:prstGeom prst="line">
              <a:avLst/>
            </a:prstGeom>
            <a:noFill/>
            <a:ln w="12700" algn="ctr">
              <a:solidFill>
                <a:schemeClr val="tx2"/>
              </a:solidFill>
              <a:round/>
              <a:headEnd/>
              <a:tailEnd type="oval" w="sm" len="sm"/>
            </a:ln>
            <a:effectLst/>
          </p:spPr>
        </p:cxnSp>
        <p:pic>
          <p:nvPicPr>
            <p:cNvPr id="69" name="Picture 21" descr="Related image">
              <a:extLst>
                <a:ext uri="{FF2B5EF4-FFF2-40B4-BE49-F238E27FC236}">
                  <a16:creationId xmlns:a16="http://schemas.microsoft.com/office/drawing/2014/main" id="{3991282A-4E80-45B8-94E0-AFA4C2A8602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29881" y="2054979"/>
              <a:ext cx="252413" cy="2143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84" name="Straight Connector 124">
            <a:extLst>
              <a:ext uri="{FF2B5EF4-FFF2-40B4-BE49-F238E27FC236}">
                <a16:creationId xmlns:a16="http://schemas.microsoft.com/office/drawing/2014/main" id="{712844E1-EE7B-4020-A38E-4A5C568669B1}"/>
              </a:ext>
            </a:extLst>
          </p:cNvPr>
          <p:cNvCxnSpPr>
            <a:cxnSpLocks noChangeShapeType="1"/>
            <a:stCxn id="85" idx="1"/>
          </p:cNvCxnSpPr>
          <p:nvPr/>
        </p:nvCxnSpPr>
        <p:spPr bwMode="auto">
          <a:xfrm flipH="1" flipV="1">
            <a:off x="4283247" y="2918554"/>
            <a:ext cx="1458784" cy="645509"/>
          </a:xfrm>
          <a:prstGeom prst="line">
            <a:avLst/>
          </a:prstGeom>
          <a:noFill/>
          <a:ln w="12700" algn="ctr">
            <a:solidFill>
              <a:schemeClr val="tx2"/>
            </a:solidFill>
            <a:round/>
            <a:headEnd/>
            <a:tailEnd type="oval" w="sm" len="sm"/>
          </a:ln>
          <a:effectLst/>
        </p:spPr>
      </p:cxnSp>
      <p:sp>
        <p:nvSpPr>
          <p:cNvPr id="85" name="Round Diagonal Corner Rectangle 230">
            <a:extLst>
              <a:ext uri="{FF2B5EF4-FFF2-40B4-BE49-F238E27FC236}">
                <a16:creationId xmlns:a16="http://schemas.microsoft.com/office/drawing/2014/main" id="{0D56C82D-7B92-414C-925C-1D78E60C8A5B}"/>
              </a:ext>
            </a:extLst>
          </p:cNvPr>
          <p:cNvSpPr/>
          <p:nvPr/>
        </p:nvSpPr>
        <p:spPr bwMode="blackWhite">
          <a:xfrm>
            <a:off x="5742031" y="3420063"/>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grpSp>
        <p:nvGrpSpPr>
          <p:cNvPr id="52" name="Group 51">
            <a:extLst>
              <a:ext uri="{FF2B5EF4-FFF2-40B4-BE49-F238E27FC236}">
                <a16:creationId xmlns:a16="http://schemas.microsoft.com/office/drawing/2014/main" id="{F154A7B6-D7BC-4CE0-8E06-8BB7E08DEAC9}"/>
              </a:ext>
            </a:extLst>
          </p:cNvPr>
          <p:cNvGrpSpPr/>
          <p:nvPr/>
        </p:nvGrpSpPr>
        <p:grpSpPr>
          <a:xfrm>
            <a:off x="2144464" y="2364070"/>
            <a:ext cx="1556388" cy="597672"/>
            <a:chOff x="2732087" y="1340042"/>
            <a:chExt cx="1556388" cy="597672"/>
          </a:xfrm>
        </p:grpSpPr>
        <p:sp>
          <p:nvSpPr>
            <p:cNvPr id="97" name="Round Diagonal Corner Rectangle 31">
              <a:extLst>
                <a:ext uri="{FF2B5EF4-FFF2-40B4-BE49-F238E27FC236}">
                  <a16:creationId xmlns:a16="http://schemas.microsoft.com/office/drawing/2014/main" id="{51BA452F-20B5-4D0D-B420-C768F0BEE345}"/>
                </a:ext>
              </a:extLst>
            </p:cNvPr>
            <p:cNvSpPr/>
            <p:nvPr/>
          </p:nvSpPr>
          <p:spPr bwMode="blackWhite">
            <a:xfrm>
              <a:off x="2732087" y="1340042"/>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98" name="Straight Connector 138">
              <a:extLst>
                <a:ext uri="{FF2B5EF4-FFF2-40B4-BE49-F238E27FC236}">
                  <a16:creationId xmlns:a16="http://schemas.microsoft.com/office/drawing/2014/main" id="{69F04DF8-32B4-43D6-A9E9-DA377AFB59EB}"/>
                </a:ext>
              </a:extLst>
            </p:cNvPr>
            <p:cNvCxnSpPr>
              <a:cxnSpLocks/>
              <a:stCxn id="97" idx="3"/>
              <a:endCxn id="489" idx="32"/>
            </p:cNvCxnSpPr>
            <p:nvPr/>
          </p:nvCxnSpPr>
          <p:spPr bwMode="auto">
            <a:xfrm>
              <a:off x="3380087" y="1484042"/>
              <a:ext cx="908388" cy="453672"/>
            </a:xfrm>
            <a:prstGeom prst="line">
              <a:avLst/>
            </a:prstGeom>
            <a:noFill/>
            <a:ln w="12700" algn="ctr">
              <a:solidFill>
                <a:schemeClr val="tx2"/>
              </a:solidFill>
              <a:round/>
              <a:headEnd/>
              <a:tailEnd type="oval" w="sm" len="sm"/>
            </a:ln>
            <a:effectLst/>
          </p:spPr>
        </p:cxnSp>
        <p:pic>
          <p:nvPicPr>
            <p:cNvPr id="156" name="Picture 155">
              <a:extLst>
                <a:ext uri="{FF2B5EF4-FFF2-40B4-BE49-F238E27FC236}">
                  <a16:creationId xmlns:a16="http://schemas.microsoft.com/office/drawing/2014/main" id="{FC916026-CDFC-454B-BDF1-126BAA5458B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54643" y="1396849"/>
              <a:ext cx="574836" cy="152356"/>
            </a:xfrm>
            <a:prstGeom prst="rect">
              <a:avLst/>
            </a:prstGeom>
          </p:spPr>
        </p:pic>
      </p:grpSp>
      <p:grpSp>
        <p:nvGrpSpPr>
          <p:cNvPr id="9" name="Group 8">
            <a:extLst>
              <a:ext uri="{FF2B5EF4-FFF2-40B4-BE49-F238E27FC236}">
                <a16:creationId xmlns:a16="http://schemas.microsoft.com/office/drawing/2014/main" id="{B644E283-57FC-4895-9C5D-43770BDE6C9E}"/>
              </a:ext>
            </a:extLst>
          </p:cNvPr>
          <p:cNvGrpSpPr/>
          <p:nvPr/>
        </p:nvGrpSpPr>
        <p:grpSpPr>
          <a:xfrm>
            <a:off x="1825715" y="3382345"/>
            <a:ext cx="1799093" cy="312748"/>
            <a:chOff x="3585538" y="2943362"/>
            <a:chExt cx="1799093" cy="312748"/>
          </a:xfrm>
        </p:grpSpPr>
        <p:sp>
          <p:nvSpPr>
            <p:cNvPr id="43" name="Round Diagonal Corner Rectangle 122">
              <a:extLst>
                <a:ext uri="{FF2B5EF4-FFF2-40B4-BE49-F238E27FC236}">
                  <a16:creationId xmlns:a16="http://schemas.microsoft.com/office/drawing/2014/main" id="{37E1248A-2655-4F3A-B5D7-242996D6D80C}"/>
                </a:ext>
              </a:extLst>
            </p:cNvPr>
            <p:cNvSpPr/>
            <p:nvPr/>
          </p:nvSpPr>
          <p:spPr bwMode="blackWhite">
            <a:xfrm>
              <a:off x="3585538" y="2968110"/>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rgbClr val="FF0000"/>
                </a:solidFill>
                <a:highlight>
                  <a:srgbClr val="00FF00"/>
                </a:highlight>
                <a:latin typeface="Arial" charset="0"/>
              </a:endParaRPr>
            </a:p>
          </p:txBody>
        </p:sp>
        <p:cxnSp>
          <p:nvCxnSpPr>
            <p:cNvPr id="44" name="Straight Connector 43">
              <a:extLst>
                <a:ext uri="{FF2B5EF4-FFF2-40B4-BE49-F238E27FC236}">
                  <a16:creationId xmlns:a16="http://schemas.microsoft.com/office/drawing/2014/main" id="{53EBE3D1-7764-410D-BFEF-C97C3BB61FF9}"/>
                </a:ext>
              </a:extLst>
            </p:cNvPr>
            <p:cNvCxnSpPr>
              <a:cxnSpLocks/>
              <a:stCxn id="43" idx="0"/>
            </p:cNvCxnSpPr>
            <p:nvPr/>
          </p:nvCxnSpPr>
          <p:spPr bwMode="auto">
            <a:xfrm flipV="1">
              <a:off x="3909538" y="2943362"/>
              <a:ext cx="1475093" cy="24748"/>
            </a:xfrm>
            <a:prstGeom prst="line">
              <a:avLst/>
            </a:prstGeom>
            <a:solidFill>
              <a:srgbClr val="FFFF00"/>
            </a:solidFill>
            <a:ln w="12700" cap="flat" cmpd="sng" algn="ctr">
              <a:solidFill>
                <a:schemeClr val="tx2"/>
              </a:solidFill>
              <a:prstDash val="solid"/>
              <a:round/>
              <a:headEnd type="none" w="med" len="med"/>
              <a:tailEnd type="oval" w="sm" len="sm"/>
            </a:ln>
            <a:effectLst/>
          </p:spPr>
        </p:cxnSp>
        <p:pic>
          <p:nvPicPr>
            <p:cNvPr id="157" name="Picture 156">
              <a:extLst>
                <a:ext uri="{FF2B5EF4-FFF2-40B4-BE49-F238E27FC236}">
                  <a16:creationId xmlns:a16="http://schemas.microsoft.com/office/drawing/2014/main" id="{783DF5D6-F9B5-490F-B8BE-8A6F666C149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35528" y="3099138"/>
              <a:ext cx="547949" cy="60883"/>
            </a:xfrm>
            <a:prstGeom prst="rect">
              <a:avLst/>
            </a:prstGeom>
          </p:spPr>
        </p:pic>
      </p:grpSp>
      <p:grpSp>
        <p:nvGrpSpPr>
          <p:cNvPr id="99" name="Group 98">
            <a:extLst>
              <a:ext uri="{FF2B5EF4-FFF2-40B4-BE49-F238E27FC236}">
                <a16:creationId xmlns:a16="http://schemas.microsoft.com/office/drawing/2014/main" id="{1B07FAFA-5CBD-4DBD-A369-BD7F9DBEE52E}"/>
              </a:ext>
            </a:extLst>
          </p:cNvPr>
          <p:cNvGrpSpPr/>
          <p:nvPr/>
        </p:nvGrpSpPr>
        <p:grpSpPr>
          <a:xfrm>
            <a:off x="2523963" y="1100848"/>
            <a:ext cx="1625953" cy="1229059"/>
            <a:chOff x="2910968" y="892710"/>
            <a:chExt cx="1625953" cy="1229059"/>
          </a:xfrm>
        </p:grpSpPr>
        <p:sp>
          <p:nvSpPr>
            <p:cNvPr id="14" name="Round Diagonal Corner Rectangle 28">
              <a:extLst>
                <a:ext uri="{FF2B5EF4-FFF2-40B4-BE49-F238E27FC236}">
                  <a16:creationId xmlns:a16="http://schemas.microsoft.com/office/drawing/2014/main" id="{E02957C0-6B63-4385-890B-5535AEBBECD4}"/>
                </a:ext>
              </a:extLst>
            </p:cNvPr>
            <p:cNvSpPr/>
            <p:nvPr/>
          </p:nvSpPr>
          <p:spPr bwMode="blackWhite">
            <a:xfrm>
              <a:off x="3745712" y="892710"/>
              <a:ext cx="648000" cy="288000"/>
            </a:xfrm>
            <a:prstGeom prst="rect">
              <a:avLst/>
            </a:prstGeom>
            <a:no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16" name="Straight Connector 45">
              <a:extLst>
                <a:ext uri="{FF2B5EF4-FFF2-40B4-BE49-F238E27FC236}">
                  <a16:creationId xmlns:a16="http://schemas.microsoft.com/office/drawing/2014/main" id="{B43C1BCA-34EC-4F42-B02C-95AE2A63968E}"/>
                </a:ext>
              </a:extLst>
            </p:cNvPr>
            <p:cNvCxnSpPr>
              <a:cxnSpLocks/>
              <a:stCxn id="14" idx="2"/>
              <a:endCxn id="505" idx="10"/>
            </p:cNvCxnSpPr>
            <p:nvPr/>
          </p:nvCxnSpPr>
          <p:spPr bwMode="auto">
            <a:xfrm>
              <a:off x="4069712" y="1180710"/>
              <a:ext cx="467209" cy="941059"/>
            </a:xfrm>
            <a:prstGeom prst="line">
              <a:avLst/>
            </a:prstGeom>
            <a:noFill/>
            <a:ln w="12700" algn="ctr">
              <a:solidFill>
                <a:schemeClr val="tx2"/>
              </a:solidFill>
              <a:round/>
              <a:headEnd/>
              <a:tailEnd type="oval" w="sm" len="sm"/>
            </a:ln>
            <a:effectLst/>
          </p:spPr>
        </p:cxnSp>
        <p:pic>
          <p:nvPicPr>
            <p:cNvPr id="159" name="Picture 158">
              <a:extLst>
                <a:ext uri="{FF2B5EF4-FFF2-40B4-BE49-F238E27FC236}">
                  <a16:creationId xmlns:a16="http://schemas.microsoft.com/office/drawing/2014/main" id="{93565EF7-11F9-45C8-B30F-E401BC6C978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10968" y="1574769"/>
              <a:ext cx="590079" cy="132768"/>
            </a:xfrm>
            <a:prstGeom prst="rect">
              <a:avLst/>
            </a:prstGeom>
          </p:spPr>
        </p:pic>
      </p:grpSp>
      <p:pic>
        <p:nvPicPr>
          <p:cNvPr id="148" name="Picture 730">
            <a:extLst>
              <a:ext uri="{FF2B5EF4-FFF2-40B4-BE49-F238E27FC236}">
                <a16:creationId xmlns:a16="http://schemas.microsoft.com/office/drawing/2014/main" id="{0BF82DC4-A3BC-4369-BA64-4FE25C854F3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09805" y="3508222"/>
            <a:ext cx="523875" cy="1476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60" name="Straight Connector 124">
            <a:extLst>
              <a:ext uri="{FF2B5EF4-FFF2-40B4-BE49-F238E27FC236}">
                <a16:creationId xmlns:a16="http://schemas.microsoft.com/office/drawing/2014/main" id="{518EE40D-582A-4F97-8DB1-CA2303E87C47}"/>
              </a:ext>
            </a:extLst>
          </p:cNvPr>
          <p:cNvCxnSpPr>
            <a:cxnSpLocks noChangeShapeType="1"/>
            <a:stCxn id="161" idx="1"/>
          </p:cNvCxnSpPr>
          <p:nvPr/>
        </p:nvCxnSpPr>
        <p:spPr bwMode="auto">
          <a:xfrm flipH="1" flipV="1">
            <a:off x="5103247" y="3852332"/>
            <a:ext cx="1458784" cy="645509"/>
          </a:xfrm>
          <a:prstGeom prst="line">
            <a:avLst/>
          </a:prstGeom>
          <a:noFill/>
          <a:ln w="12700" algn="ctr">
            <a:solidFill>
              <a:schemeClr val="tx2"/>
            </a:solidFill>
            <a:round/>
            <a:headEnd/>
            <a:tailEnd type="oval" w="sm" len="sm"/>
          </a:ln>
          <a:effectLst/>
        </p:spPr>
      </p:cxnSp>
      <p:sp>
        <p:nvSpPr>
          <p:cNvPr id="161" name="Round Diagonal Corner Rectangle 230">
            <a:extLst>
              <a:ext uri="{FF2B5EF4-FFF2-40B4-BE49-F238E27FC236}">
                <a16:creationId xmlns:a16="http://schemas.microsoft.com/office/drawing/2014/main" id="{5C98935F-07CB-463F-9DA2-7ED02C4731F8}"/>
              </a:ext>
            </a:extLst>
          </p:cNvPr>
          <p:cNvSpPr/>
          <p:nvPr/>
        </p:nvSpPr>
        <p:spPr bwMode="blackWhite">
          <a:xfrm>
            <a:off x="6562031" y="4353841"/>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162" name="Picture 652" descr="Arena Sport - Wikipedia">
            <a:extLst>
              <a:ext uri="{FF2B5EF4-FFF2-40B4-BE49-F238E27FC236}">
                <a16:creationId xmlns:a16="http://schemas.microsoft.com/office/drawing/2014/main" id="{B679449B-EBC1-4B52-B06C-F443A4F65F8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98136" y="4384652"/>
            <a:ext cx="575789" cy="197481"/>
          </a:xfrm>
          <a:prstGeom prst="rect">
            <a:avLst/>
          </a:prstGeom>
          <a:noFill/>
          <a:extLst>
            <a:ext uri="{909E8E84-426E-40DD-AFC4-6F175D3DCCD1}">
              <a14:hiddenFill xmlns:a14="http://schemas.microsoft.com/office/drawing/2010/main">
                <a:solidFill>
                  <a:srgbClr val="FFFFFF"/>
                </a:solidFill>
              </a14:hiddenFill>
            </a:ext>
          </a:extLst>
        </p:spPr>
      </p:pic>
      <p:sp>
        <p:nvSpPr>
          <p:cNvPr id="100" name="Round Diagonal Corner Rectangle 270">
            <a:extLst>
              <a:ext uri="{FF2B5EF4-FFF2-40B4-BE49-F238E27FC236}">
                <a16:creationId xmlns:a16="http://schemas.microsoft.com/office/drawing/2014/main" id="{D7FD16E0-ECF7-43A4-BBD8-1153EF35317C}"/>
              </a:ext>
            </a:extLst>
          </p:cNvPr>
          <p:cNvSpPr/>
          <p:nvPr/>
        </p:nvSpPr>
        <p:spPr bwMode="blackWhite">
          <a:xfrm>
            <a:off x="133012" y="4654013"/>
            <a:ext cx="1800000" cy="360218"/>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latin typeface="Arial" charset="0"/>
            </a:endParaRPr>
          </a:p>
        </p:txBody>
      </p:sp>
      <p:sp>
        <p:nvSpPr>
          <p:cNvPr id="101" name="TextBox 100">
            <a:extLst>
              <a:ext uri="{FF2B5EF4-FFF2-40B4-BE49-F238E27FC236}">
                <a16:creationId xmlns:a16="http://schemas.microsoft.com/office/drawing/2014/main" id="{043D7CC3-9C49-420C-8A8E-209CF3F52D96}"/>
              </a:ext>
            </a:extLst>
          </p:cNvPr>
          <p:cNvSpPr txBox="1"/>
          <p:nvPr/>
        </p:nvSpPr>
        <p:spPr>
          <a:xfrm>
            <a:off x="1143848" y="4716359"/>
            <a:ext cx="592095" cy="235527"/>
          </a:xfrm>
          <a:prstGeom prst="rect">
            <a:avLst/>
          </a:prstGeom>
          <a:noFill/>
          <a:effectLst/>
        </p:spPr>
        <p:txBody>
          <a:bodyPr lIns="0" tIns="0" rIns="0" bIns="0" anchor="ctr"/>
          <a:lstStyle/>
          <a:p>
            <a:pPr eaLnBrk="1" hangingPunct="1">
              <a:defRPr/>
            </a:pPr>
            <a:r>
              <a:rPr lang="en-GB" sz="800" dirty="0">
                <a:latin typeface="Arial" charset="0"/>
              </a:rPr>
              <a:t>Worldwide</a:t>
            </a:r>
          </a:p>
        </p:txBody>
      </p:sp>
      <p:cxnSp>
        <p:nvCxnSpPr>
          <p:cNvPr id="102" name="Straight Connector 101">
            <a:extLst>
              <a:ext uri="{FF2B5EF4-FFF2-40B4-BE49-F238E27FC236}">
                <a16:creationId xmlns:a16="http://schemas.microsoft.com/office/drawing/2014/main" id="{62C91593-4D8D-4E70-A3B3-2D68821FD11B}"/>
              </a:ext>
            </a:extLst>
          </p:cNvPr>
          <p:cNvCxnSpPr/>
          <p:nvPr/>
        </p:nvCxnSpPr>
        <p:spPr bwMode="auto">
          <a:xfrm>
            <a:off x="1033012" y="4708122"/>
            <a:ext cx="0" cy="252000"/>
          </a:xfrm>
          <a:prstGeom prst="line">
            <a:avLst/>
          </a:prstGeom>
          <a:solidFill>
            <a:srgbClr val="FF0000"/>
          </a:solidFill>
          <a:ln w="12700" cap="flat" cmpd="sng" algn="ctr">
            <a:solidFill>
              <a:schemeClr val="tx2"/>
            </a:solidFill>
            <a:prstDash val="solid"/>
            <a:round/>
            <a:headEnd type="none" w="med" len="med"/>
            <a:tailEnd type="none" w="med" len="med"/>
          </a:ln>
          <a:effectLst/>
        </p:spPr>
      </p:cxnSp>
      <p:pic>
        <p:nvPicPr>
          <p:cNvPr id="106" name="Picture 30">
            <a:extLst>
              <a:ext uri="{FF2B5EF4-FFF2-40B4-BE49-F238E27FC236}">
                <a16:creationId xmlns:a16="http://schemas.microsoft.com/office/drawing/2014/main" id="{8BFED2E9-2E58-419C-8656-BEC9573AFB8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7726" y="4766466"/>
            <a:ext cx="815782" cy="111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7" name="Round Diagonal Corner Rectangle 152">
            <a:extLst>
              <a:ext uri="{FF2B5EF4-FFF2-40B4-BE49-F238E27FC236}">
                <a16:creationId xmlns:a16="http://schemas.microsoft.com/office/drawing/2014/main" id="{3E8D7E53-FC06-4ABF-8086-9CE086B9FACF}"/>
              </a:ext>
            </a:extLst>
          </p:cNvPr>
          <p:cNvSpPr/>
          <p:nvPr/>
        </p:nvSpPr>
        <p:spPr bwMode="blackWhite">
          <a:xfrm>
            <a:off x="133012" y="4221615"/>
            <a:ext cx="1800000" cy="360000"/>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latin typeface="Arial" charset="0"/>
            </a:endParaRPr>
          </a:p>
        </p:txBody>
      </p:sp>
      <p:sp>
        <p:nvSpPr>
          <p:cNvPr id="108" name="TextBox 154">
            <a:extLst>
              <a:ext uri="{FF2B5EF4-FFF2-40B4-BE49-F238E27FC236}">
                <a16:creationId xmlns:a16="http://schemas.microsoft.com/office/drawing/2014/main" id="{2DB2FC24-728A-41E8-A8E1-251B1520817C}"/>
              </a:ext>
            </a:extLst>
          </p:cNvPr>
          <p:cNvSpPr txBox="1">
            <a:spLocks noChangeArrowheads="1"/>
          </p:cNvSpPr>
          <p:nvPr/>
        </p:nvSpPr>
        <p:spPr bwMode="auto">
          <a:xfrm>
            <a:off x="1120518" y="4293515"/>
            <a:ext cx="793519" cy="216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r>
              <a:rPr lang="en-GB" altLang="en-US" sz="800" dirty="0"/>
              <a:t>Pan-Europe; Pan-Asia-Pacific</a:t>
            </a:r>
          </a:p>
        </p:txBody>
      </p:sp>
      <p:cxnSp>
        <p:nvCxnSpPr>
          <p:cNvPr id="109" name="Straight Connector 159">
            <a:extLst>
              <a:ext uri="{FF2B5EF4-FFF2-40B4-BE49-F238E27FC236}">
                <a16:creationId xmlns:a16="http://schemas.microsoft.com/office/drawing/2014/main" id="{0D26FD09-96F5-4B5C-8A8B-CF6DD2FC0421}"/>
              </a:ext>
            </a:extLst>
          </p:cNvPr>
          <p:cNvCxnSpPr>
            <a:cxnSpLocks noChangeShapeType="1"/>
          </p:cNvCxnSpPr>
          <p:nvPr/>
        </p:nvCxnSpPr>
        <p:spPr bwMode="auto">
          <a:xfrm>
            <a:off x="1033012" y="4275615"/>
            <a:ext cx="0" cy="252000"/>
          </a:xfrm>
          <a:prstGeom prst="line">
            <a:avLst/>
          </a:prstGeom>
          <a:noFill/>
          <a:ln w="12700" algn="ctr">
            <a:solidFill>
              <a:schemeClr val="tx2"/>
            </a:solidFill>
            <a:round/>
            <a:headEnd/>
            <a:tailEnd/>
          </a:ln>
          <a:effectLst/>
        </p:spPr>
      </p:cxnSp>
      <p:pic>
        <p:nvPicPr>
          <p:cNvPr id="110" name="Picture 109">
            <a:extLst>
              <a:ext uri="{FF2B5EF4-FFF2-40B4-BE49-F238E27FC236}">
                <a16:creationId xmlns:a16="http://schemas.microsoft.com/office/drawing/2014/main" id="{1FF74A7E-E24B-4770-A12A-9E779C5CB48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11172" y="4358366"/>
            <a:ext cx="744324" cy="86499"/>
          </a:xfrm>
          <a:prstGeom prst="rect">
            <a:avLst/>
          </a:prstGeom>
        </p:spPr>
      </p:pic>
      <p:grpSp>
        <p:nvGrpSpPr>
          <p:cNvPr id="112" name="Group 111">
            <a:extLst>
              <a:ext uri="{FF2B5EF4-FFF2-40B4-BE49-F238E27FC236}">
                <a16:creationId xmlns:a16="http://schemas.microsoft.com/office/drawing/2014/main" id="{9E3DD71C-3E4B-4706-A9A8-71BF8FBD301D}"/>
              </a:ext>
            </a:extLst>
          </p:cNvPr>
          <p:cNvGrpSpPr/>
          <p:nvPr/>
        </p:nvGrpSpPr>
        <p:grpSpPr>
          <a:xfrm>
            <a:off x="5688463" y="1154640"/>
            <a:ext cx="1461485" cy="354648"/>
            <a:chOff x="4629042" y="1527712"/>
            <a:chExt cx="1461485" cy="354648"/>
          </a:xfrm>
        </p:grpSpPr>
        <p:cxnSp>
          <p:nvCxnSpPr>
            <p:cNvPr id="113" name="Straight Connector 221">
              <a:extLst>
                <a:ext uri="{FF2B5EF4-FFF2-40B4-BE49-F238E27FC236}">
                  <a16:creationId xmlns:a16="http://schemas.microsoft.com/office/drawing/2014/main" id="{92CBDA18-1B05-452B-8818-66FBDBFC0F2D}"/>
                </a:ext>
              </a:extLst>
            </p:cNvPr>
            <p:cNvCxnSpPr>
              <a:cxnSpLocks noChangeShapeType="1"/>
              <a:stCxn id="114" idx="1"/>
            </p:cNvCxnSpPr>
            <p:nvPr/>
          </p:nvCxnSpPr>
          <p:spPr bwMode="auto">
            <a:xfrm flipH="1">
              <a:off x="4629042" y="1669000"/>
              <a:ext cx="842360" cy="213360"/>
            </a:xfrm>
            <a:prstGeom prst="line">
              <a:avLst/>
            </a:prstGeom>
            <a:noFill/>
            <a:ln w="12700" algn="ctr">
              <a:solidFill>
                <a:schemeClr val="tx2"/>
              </a:solidFill>
              <a:round/>
              <a:headEnd/>
              <a:tailEnd type="oval" w="sm" len="sm"/>
            </a:ln>
            <a:effectLst/>
          </p:spPr>
        </p:cxnSp>
        <p:sp>
          <p:nvSpPr>
            <p:cNvPr id="114" name="Round Diagonal Corner Rectangle 222">
              <a:extLst>
                <a:ext uri="{FF2B5EF4-FFF2-40B4-BE49-F238E27FC236}">
                  <a16:creationId xmlns:a16="http://schemas.microsoft.com/office/drawing/2014/main" id="{90F0AD7C-BA13-4582-B35B-7E210DF1FBE4}"/>
                </a:ext>
              </a:extLst>
            </p:cNvPr>
            <p:cNvSpPr/>
            <p:nvPr/>
          </p:nvSpPr>
          <p:spPr bwMode="blackWhite">
            <a:xfrm>
              <a:off x="5471402" y="1527712"/>
              <a:ext cx="619125" cy="282575"/>
            </a:xfrm>
            <a:prstGeom prst="rect">
              <a:avLst/>
            </a:prstGeom>
            <a:no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grpSp>
      <p:pic>
        <p:nvPicPr>
          <p:cNvPr id="52228" name="Picture 4" descr="C More Entertainment - Wikiwand">
            <a:extLst>
              <a:ext uri="{FF2B5EF4-FFF2-40B4-BE49-F238E27FC236}">
                <a16:creationId xmlns:a16="http://schemas.microsoft.com/office/drawing/2014/main" id="{6AE0FF45-DD9A-475A-B1B0-7DB4AA4ABA1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64950" y="1189145"/>
            <a:ext cx="562128" cy="219230"/>
          </a:xfrm>
          <a:prstGeom prst="rect">
            <a:avLst/>
          </a:prstGeom>
          <a:noFill/>
        </p:spPr>
      </p:pic>
      <p:pic>
        <p:nvPicPr>
          <p:cNvPr id="3" name="Picture 2">
            <a:extLst>
              <a:ext uri="{FF2B5EF4-FFF2-40B4-BE49-F238E27FC236}">
                <a16:creationId xmlns:a16="http://schemas.microsoft.com/office/drawing/2014/main" id="{4DA085DD-F8CF-EEF5-2950-7E39C1AAD9B3}"/>
              </a:ext>
            </a:extLst>
          </p:cNvPr>
          <p:cNvPicPr>
            <a:picLocks noChangeAspect="1"/>
          </p:cNvPicPr>
          <p:nvPr/>
        </p:nvPicPr>
        <p:blipFill>
          <a:blip r:embed="rId14"/>
          <a:stretch>
            <a:fillRect/>
          </a:stretch>
        </p:blipFill>
        <p:spPr>
          <a:xfrm>
            <a:off x="3561965" y="1119702"/>
            <a:ext cx="239082" cy="239082"/>
          </a:xfrm>
          <a:prstGeom prst="rect">
            <a:avLst/>
          </a:prstGeom>
        </p:spPr>
      </p:pic>
      <p:pic>
        <p:nvPicPr>
          <p:cNvPr id="4" name="Picture 3">
            <a:extLst>
              <a:ext uri="{FF2B5EF4-FFF2-40B4-BE49-F238E27FC236}">
                <a16:creationId xmlns:a16="http://schemas.microsoft.com/office/drawing/2014/main" id="{F2A5C76C-4525-C852-78A6-B0EE055ACB35}"/>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291055" y="2841841"/>
            <a:ext cx="377047" cy="211787"/>
          </a:xfrm>
          <a:prstGeom prst="rect">
            <a:avLst/>
          </a:prstGeom>
          <a:solidFill>
            <a:schemeClr val="bg1"/>
          </a:solidFill>
        </p:spPr>
      </p:pic>
      <p:cxnSp>
        <p:nvCxnSpPr>
          <p:cNvPr id="6" name="Straight Connector 124">
            <a:extLst>
              <a:ext uri="{FF2B5EF4-FFF2-40B4-BE49-F238E27FC236}">
                <a16:creationId xmlns:a16="http://schemas.microsoft.com/office/drawing/2014/main" id="{A40243F4-21AC-F755-5CEE-2B6D6AB5FE70}"/>
              </a:ext>
            </a:extLst>
          </p:cNvPr>
          <p:cNvCxnSpPr>
            <a:cxnSpLocks noChangeShapeType="1"/>
            <a:stCxn id="7" idx="0"/>
          </p:cNvCxnSpPr>
          <p:nvPr/>
        </p:nvCxnSpPr>
        <p:spPr bwMode="auto">
          <a:xfrm flipH="1" flipV="1">
            <a:off x="4617520" y="4102162"/>
            <a:ext cx="393807" cy="665066"/>
          </a:xfrm>
          <a:prstGeom prst="line">
            <a:avLst/>
          </a:prstGeom>
          <a:noFill/>
          <a:ln w="12700" algn="ctr">
            <a:solidFill>
              <a:schemeClr val="tx2"/>
            </a:solidFill>
            <a:round/>
            <a:headEnd/>
            <a:tailEnd type="oval" w="sm" len="sm"/>
          </a:ln>
          <a:effectLst/>
        </p:spPr>
      </p:cxnSp>
      <p:sp>
        <p:nvSpPr>
          <p:cNvPr id="7" name="Round Diagonal Corner Rectangle 230">
            <a:extLst>
              <a:ext uri="{FF2B5EF4-FFF2-40B4-BE49-F238E27FC236}">
                <a16:creationId xmlns:a16="http://schemas.microsoft.com/office/drawing/2014/main" id="{2DB7D359-9C60-5802-7275-03E7D88A11E3}"/>
              </a:ext>
            </a:extLst>
          </p:cNvPr>
          <p:cNvSpPr/>
          <p:nvPr/>
        </p:nvSpPr>
        <p:spPr bwMode="blackWhite">
          <a:xfrm>
            <a:off x="4687327" y="4767228"/>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8" name="Picture 2" descr="Sky Italia — Wikipédia">
            <a:extLst>
              <a:ext uri="{FF2B5EF4-FFF2-40B4-BE49-F238E27FC236}">
                <a16:creationId xmlns:a16="http://schemas.microsoft.com/office/drawing/2014/main" id="{0E38DB48-FA58-4E70-95D6-A9FFD89B8AE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825718" y="4801664"/>
            <a:ext cx="357773" cy="219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3493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able 24">
            <a:extLst>
              <a:ext uri="{FF2B5EF4-FFF2-40B4-BE49-F238E27FC236}">
                <a16:creationId xmlns:a16="http://schemas.microsoft.com/office/drawing/2014/main" id="{7FC8D5D2-94C3-4359-9D4F-752068286B98}"/>
              </a:ext>
            </a:extLst>
          </p:cNvPr>
          <p:cNvGraphicFramePr>
            <a:graphicFrameLocks noGrp="1"/>
          </p:cNvGraphicFramePr>
          <p:nvPr>
            <p:extLst>
              <p:ext uri="{D42A27DB-BD31-4B8C-83A1-F6EECF244321}">
                <p14:modId xmlns:p14="http://schemas.microsoft.com/office/powerpoint/2010/main" val="1095881200"/>
              </p:ext>
            </p:extLst>
          </p:nvPr>
        </p:nvGraphicFramePr>
        <p:xfrm>
          <a:off x="412315" y="1247866"/>
          <a:ext cx="8460000" cy="1834131"/>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0000">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355851">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37084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Pan-Europ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Pay TV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12:30 – 14:00 and 15:30 – 19:30 on Eurosport 2</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8/4 23:45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37084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12:30 – 14:00 and 15:30 – 19:30 on Eurosport 2</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8/4 23:45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370840">
                <a:tc>
                  <a:txBody>
                    <a:bodyPr/>
                    <a:lstStyle/>
                    <a:p>
                      <a:pPr algn="ctr"/>
                      <a:endParaRPr lang="en-GB" sz="800" kern="1200" dirty="0">
                        <a:solidFill>
                          <a:schemeClr val="tx1"/>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Germany/DACH</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 / 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12:30 – 14:00 and 15:30 – 19:30 on Eurosport 2</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8/4 23:45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247555827"/>
                  </a:ext>
                </a:extLst>
              </a:tr>
              <a:tr h="146884">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UK</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11:30 – 13:00 and 14:30 – 18:30 on Eurosport 2</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8/4 22:45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26994600"/>
                  </a:ext>
                </a:extLst>
              </a:tr>
            </a:tbl>
          </a:graphicData>
        </a:graphic>
      </p:graphicFrame>
      <p:sp>
        <p:nvSpPr>
          <p:cNvPr id="3" name="Title 2">
            <a:extLst>
              <a:ext uri="{FF2B5EF4-FFF2-40B4-BE49-F238E27FC236}">
                <a16:creationId xmlns:a16="http://schemas.microsoft.com/office/drawing/2014/main" id="{FB954D6A-2010-423B-A2E5-E73E3E49D657}"/>
              </a:ext>
            </a:extLst>
          </p:cNvPr>
          <p:cNvSpPr>
            <a:spLocks noGrp="1"/>
          </p:cNvSpPr>
          <p:nvPr>
            <p:ph type="title"/>
          </p:nvPr>
        </p:nvSpPr>
        <p:spPr/>
        <p:txBody>
          <a:bodyPr/>
          <a:lstStyle/>
          <a:p>
            <a:r>
              <a:rPr lang="en-GB" dirty="0"/>
              <a:t>Pan-European Broadcasters</a:t>
            </a:r>
          </a:p>
        </p:txBody>
      </p:sp>
      <p:sp>
        <p:nvSpPr>
          <p:cNvPr id="2" name="Footer Placeholder 1">
            <a:extLst>
              <a:ext uri="{FF2B5EF4-FFF2-40B4-BE49-F238E27FC236}">
                <a16:creationId xmlns:a16="http://schemas.microsoft.com/office/drawing/2014/main" id="{867AFC13-10E0-47C4-8247-D5171DAFA6A2}"/>
              </a:ext>
            </a:extLst>
          </p:cNvPr>
          <p:cNvSpPr>
            <a:spLocks noGrp="1"/>
          </p:cNvSpPr>
          <p:nvPr>
            <p:ph type="ftr" sz="quarter" idx="14"/>
          </p:nvPr>
        </p:nvSpPr>
        <p:spPr/>
        <p:txBody>
          <a:bodyPr/>
          <a:lstStyle/>
          <a:p>
            <a:r>
              <a:rPr lang="de-CH" dirty="0"/>
              <a:t>#</a:t>
            </a:r>
            <a:r>
              <a:rPr lang="de-CH" dirty="0" err="1"/>
              <a:t>AllAboutSports</a:t>
            </a:r>
            <a:endParaRPr lang="de-CH" dirty="0"/>
          </a:p>
        </p:txBody>
      </p:sp>
      <p:grpSp>
        <p:nvGrpSpPr>
          <p:cNvPr id="33" name="Group 32">
            <a:extLst>
              <a:ext uri="{FF2B5EF4-FFF2-40B4-BE49-F238E27FC236}">
                <a16:creationId xmlns:a16="http://schemas.microsoft.com/office/drawing/2014/main" id="{E930A4B2-A92A-4520-979B-B341A8DC98FC}"/>
              </a:ext>
            </a:extLst>
          </p:cNvPr>
          <p:cNvGrpSpPr/>
          <p:nvPr/>
        </p:nvGrpSpPr>
        <p:grpSpPr>
          <a:xfrm>
            <a:off x="4818852" y="1313987"/>
            <a:ext cx="1936210" cy="152160"/>
            <a:chOff x="4634606" y="1446587"/>
            <a:chExt cx="1936210" cy="152160"/>
          </a:xfrm>
        </p:grpSpPr>
        <p:sp>
          <p:nvSpPr>
            <p:cNvPr id="29" name="TextBox 28">
              <a:extLst>
                <a:ext uri="{FF2B5EF4-FFF2-40B4-BE49-F238E27FC236}">
                  <a16:creationId xmlns:a16="http://schemas.microsoft.com/office/drawing/2014/main" id="{28EC6FC9-1EED-486C-8549-47BB9D6219A8}"/>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30" name="TextBox 29">
              <a:extLst>
                <a:ext uri="{FF2B5EF4-FFF2-40B4-BE49-F238E27FC236}">
                  <a16:creationId xmlns:a16="http://schemas.microsoft.com/office/drawing/2014/main" id="{23880454-AFE6-46E9-97AF-D32EDA7D2080}"/>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31" name="TextBox 30">
              <a:extLst>
                <a:ext uri="{FF2B5EF4-FFF2-40B4-BE49-F238E27FC236}">
                  <a16:creationId xmlns:a16="http://schemas.microsoft.com/office/drawing/2014/main" id="{37135E41-6DAE-459F-8563-3621A324784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38" name="Picture 37">
            <a:extLst>
              <a:ext uri="{FF2B5EF4-FFF2-40B4-BE49-F238E27FC236}">
                <a16:creationId xmlns:a16="http://schemas.microsoft.com/office/drawing/2014/main" id="{61BDEE16-CC44-4E79-925D-94C1A078E8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41" y="2017982"/>
            <a:ext cx="1097595" cy="127553"/>
          </a:xfrm>
          <a:prstGeom prst="rect">
            <a:avLst/>
          </a:prstGeom>
        </p:spPr>
      </p:pic>
      <p:pic>
        <p:nvPicPr>
          <p:cNvPr id="39" name="Picture 38">
            <a:extLst>
              <a:ext uri="{FF2B5EF4-FFF2-40B4-BE49-F238E27FC236}">
                <a16:creationId xmlns:a16="http://schemas.microsoft.com/office/drawing/2014/main" id="{D147ADBE-33EF-4D60-90CB-DC3B583A35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40" y="2408379"/>
            <a:ext cx="1097595" cy="127553"/>
          </a:xfrm>
          <a:prstGeom prst="rect">
            <a:avLst/>
          </a:prstGeom>
        </p:spPr>
      </p:pic>
      <p:sp>
        <p:nvSpPr>
          <p:cNvPr id="41" name="Slide Number Placeholder 2">
            <a:extLst>
              <a:ext uri="{FF2B5EF4-FFF2-40B4-BE49-F238E27FC236}">
                <a16:creationId xmlns:a16="http://schemas.microsoft.com/office/drawing/2014/main" id="{CBCFD979-5144-448C-B723-CBE7896B4C85}"/>
              </a:ext>
            </a:extLst>
          </p:cNvPr>
          <p:cNvSpPr>
            <a:spLocks noGrp="1"/>
          </p:cNvSpPr>
          <p:nvPr>
            <p:ph type="sldNum" sz="quarter" idx="12"/>
          </p:nvPr>
        </p:nvSpPr>
        <p:spPr>
          <a:xfrm>
            <a:off x="7365818" y="4966290"/>
            <a:ext cx="1454331" cy="109493"/>
          </a:xfrm>
        </p:spPr>
        <p:txBody>
          <a:bodyPr/>
          <a:lstStyle/>
          <a:p>
            <a:fld id="{9B60B346-FC99-4236-B943-65AE761B958F}" type="slidenum">
              <a:rPr lang="de-CH" smtClean="0"/>
              <a:t>4</a:t>
            </a:fld>
            <a:endParaRPr lang="de-CH" dirty="0"/>
          </a:p>
        </p:txBody>
      </p:sp>
      <p:pic>
        <p:nvPicPr>
          <p:cNvPr id="42" name="Picture 41">
            <a:extLst>
              <a:ext uri="{FF2B5EF4-FFF2-40B4-BE49-F238E27FC236}">
                <a16:creationId xmlns:a16="http://schemas.microsoft.com/office/drawing/2014/main" id="{DADBFA4A-38E6-4160-A609-832A6B9475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41" y="1664635"/>
            <a:ext cx="1097595" cy="127553"/>
          </a:xfrm>
          <a:prstGeom prst="rect">
            <a:avLst/>
          </a:prstGeom>
        </p:spPr>
      </p:pic>
      <p:pic>
        <p:nvPicPr>
          <p:cNvPr id="13" name="Picture 12">
            <a:extLst>
              <a:ext uri="{FF2B5EF4-FFF2-40B4-BE49-F238E27FC236}">
                <a16:creationId xmlns:a16="http://schemas.microsoft.com/office/drawing/2014/main" id="{3701B274-494C-4748-9FEE-F8FDA232CF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39" y="2771827"/>
            <a:ext cx="1097595" cy="127553"/>
          </a:xfrm>
          <a:prstGeom prst="rect">
            <a:avLst/>
          </a:prstGeom>
        </p:spPr>
      </p:pic>
    </p:spTree>
    <p:extLst>
      <p:ext uri="{BB962C8B-B14F-4D97-AF65-F5344CB8AC3E}">
        <p14:creationId xmlns:p14="http://schemas.microsoft.com/office/powerpoint/2010/main" val="40588226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European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5</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3194787372"/>
              </p:ext>
            </p:extLst>
          </p:nvPr>
        </p:nvGraphicFramePr>
        <p:xfrm>
          <a:off x="412315" y="1247612"/>
          <a:ext cx="8463619" cy="329724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Austr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ORF Sport+ </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26/04 22:15 on ORF Sport+</a:t>
                      </a:r>
                      <a:endParaRPr lang="en-GB" sz="9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Balkans (Bosnia and Herzegovina, Croatia, Kosovo, North Macedonia, Montenegro, Serbia and Sloven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Belgiu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9/04 18:0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26994600"/>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Denmark</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5104177"/>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on la </a:t>
                      </a:r>
                      <a:r>
                        <a:rPr lang="en-GB" sz="900" b="1" kern="1200" dirty="0" err="1">
                          <a:solidFill>
                            <a:schemeClr val="tx2"/>
                          </a:solidFill>
                          <a:latin typeface="Arial" charset="0"/>
                          <a:ea typeface="+mn-ea"/>
                          <a:cs typeface="+mn-cs"/>
                        </a:rPr>
                        <a:t>Chaine</a:t>
                      </a:r>
                      <a:r>
                        <a:rPr lang="en-GB" sz="900" b="1" kern="1200" dirty="0">
                          <a:solidFill>
                            <a:schemeClr val="tx2"/>
                          </a:solidFill>
                          <a:latin typeface="Arial" charset="0"/>
                          <a:ea typeface="+mn-ea"/>
                          <a:cs typeface="+mn-cs"/>
                        </a:rPr>
                        <a:t> </a:t>
                      </a:r>
                      <a:r>
                        <a:rPr lang="en-GB" sz="900" b="1" kern="1200" dirty="0" err="1">
                          <a:solidFill>
                            <a:schemeClr val="tx2"/>
                          </a:solidFill>
                          <a:latin typeface="Arial" charset="0"/>
                          <a:ea typeface="+mn-ea"/>
                          <a:cs typeface="+mn-cs"/>
                        </a:rPr>
                        <a:t>L’Equipe</a:t>
                      </a:r>
                      <a:r>
                        <a:rPr lang="en-GB" sz="900" b="1" kern="1200" dirty="0">
                          <a:solidFill>
                            <a:schemeClr val="tx2"/>
                          </a:solidFill>
                          <a:latin typeface="Arial" charset="0"/>
                          <a:ea typeface="+mn-ea"/>
                          <a:cs typeface="+mn-cs"/>
                        </a:rPr>
                        <a:t>: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1 - race start 13:0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2 - 15:30 – 19:3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85143989"/>
                  </a:ext>
                </a:extLst>
              </a:tr>
            </a:tbl>
          </a:graphicData>
        </a:graphic>
      </p:graphicFrame>
      <p:pic>
        <p:nvPicPr>
          <p:cNvPr id="10" name="Picture 907" descr="ORF Sport+ | Mihsign Vision | Fandom">
            <a:extLst>
              <a:ext uri="{FF2B5EF4-FFF2-40B4-BE49-F238E27FC236}">
                <a16:creationId xmlns:a16="http://schemas.microsoft.com/office/drawing/2014/main" id="{699E5D14-390C-4BE1-AD5A-21289B5208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328" y="1772192"/>
            <a:ext cx="907576" cy="141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a:extLst>
              <a:ext uri="{FF2B5EF4-FFF2-40B4-BE49-F238E27FC236}">
                <a16:creationId xmlns:a16="http://schemas.microsoft.com/office/drawing/2014/main" id="{8AA894CA-491B-49AB-B41D-DC04656221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297" y="2312468"/>
            <a:ext cx="1085638" cy="372346"/>
          </a:xfrm>
          <a:prstGeom prst="rect">
            <a:avLst/>
          </a:prstGeom>
        </p:spPr>
      </p:pic>
      <p:pic>
        <p:nvPicPr>
          <p:cNvPr id="17" name="Picture 16">
            <a:extLst>
              <a:ext uri="{FF2B5EF4-FFF2-40B4-BE49-F238E27FC236}">
                <a16:creationId xmlns:a16="http://schemas.microsoft.com/office/drawing/2014/main" id="{D32799EF-BA70-4320-A0E7-D2492B5882F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5475" y="3083890"/>
            <a:ext cx="757958" cy="200891"/>
          </a:xfrm>
          <a:prstGeom prst="rect">
            <a:avLst/>
          </a:prstGeom>
        </p:spPr>
      </p:pic>
      <p:pic>
        <p:nvPicPr>
          <p:cNvPr id="23" name="Picture 22">
            <a:extLst>
              <a:ext uri="{FF2B5EF4-FFF2-40B4-BE49-F238E27FC236}">
                <a16:creationId xmlns:a16="http://schemas.microsoft.com/office/drawing/2014/main" id="{4B272BA3-28BB-4F1F-A93C-C79ACEA044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2822" y="4223657"/>
            <a:ext cx="1118113" cy="124235"/>
          </a:xfrm>
          <a:prstGeom prst="rect">
            <a:avLst/>
          </a:prstGeom>
        </p:spPr>
      </p:pic>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8" name="Picture 149" descr="Image result for tv2 sport logo">
            <a:extLst>
              <a:ext uri="{FF2B5EF4-FFF2-40B4-BE49-F238E27FC236}">
                <a16:creationId xmlns:a16="http://schemas.microsoft.com/office/drawing/2014/main" id="{680115F8-98FB-40AD-A0C3-DEBD396562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3965" y="3541053"/>
            <a:ext cx="960979" cy="377493"/>
          </a:xfrm>
          <a:prstGeom prst="rect">
            <a:avLst/>
          </a:prstGeom>
          <a:solidFill>
            <a:schemeClr val="bg1"/>
          </a:solidFill>
        </p:spPr>
      </p:pic>
    </p:spTree>
    <p:extLst>
      <p:ext uri="{BB962C8B-B14F-4D97-AF65-F5344CB8AC3E}">
        <p14:creationId xmlns:p14="http://schemas.microsoft.com/office/powerpoint/2010/main" val="27920530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European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6</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2050668270"/>
              </p:ext>
            </p:extLst>
          </p:nvPr>
        </p:nvGraphicFramePr>
        <p:xfrm>
          <a:off x="412315" y="1247612"/>
          <a:ext cx="8463619" cy="3636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in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ication and full race live 13:30-20:35 on C More MAX</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08254030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Germany/DACH</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Live: 17:55 – 19:25 (30min-summary on Nitro followed by last hour of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Ital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Sky Sport F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26994600"/>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Netherlands &amp; Luxembourg</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23/04 15:30 and 29/04 15:30 on RTL 7</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5104177"/>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Po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 &amp; 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Polsat Sport News</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9/04 22:30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781560957"/>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Switzer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New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accent2">
                              <a:lumMod val="75000"/>
                            </a:schemeClr>
                          </a:solidFill>
                          <a:latin typeface="Arial" charset="0"/>
                        </a:rPr>
                        <a:t>News Acces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51654353"/>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9" name="Picture 8">
            <a:extLst>
              <a:ext uri="{FF2B5EF4-FFF2-40B4-BE49-F238E27FC236}">
                <a16:creationId xmlns:a16="http://schemas.microsoft.com/office/drawing/2014/main" id="{831C71F3-9CCE-43B9-A821-A6EFB59084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7546" y="2332773"/>
            <a:ext cx="1036901" cy="191008"/>
          </a:xfrm>
          <a:prstGeom prst="rect">
            <a:avLst/>
          </a:prstGeom>
        </p:spPr>
      </p:pic>
      <p:pic>
        <p:nvPicPr>
          <p:cNvPr id="15" name="Picture 14">
            <a:extLst>
              <a:ext uri="{FF2B5EF4-FFF2-40B4-BE49-F238E27FC236}">
                <a16:creationId xmlns:a16="http://schemas.microsoft.com/office/drawing/2014/main" id="{D4F1C7D8-C2D0-4ABD-99D0-76DFAA2BA1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7546" y="3364338"/>
            <a:ext cx="1087129" cy="244604"/>
          </a:xfrm>
          <a:prstGeom prst="rect">
            <a:avLst/>
          </a:prstGeom>
        </p:spPr>
      </p:pic>
      <p:pic>
        <p:nvPicPr>
          <p:cNvPr id="16" name="Picture 21" descr="Related image">
            <a:extLst>
              <a:ext uri="{FF2B5EF4-FFF2-40B4-BE49-F238E27FC236}">
                <a16:creationId xmlns:a16="http://schemas.microsoft.com/office/drawing/2014/main" id="{CE2A36B0-078E-4A89-A9B1-051C43D59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7271" y="4403627"/>
            <a:ext cx="458480" cy="3892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E87BC499-4B22-9386-B9A5-007666A9E355}"/>
              </a:ext>
            </a:extLst>
          </p:cNvPr>
          <p:cNvPicPr>
            <a:picLocks noChangeAspect="1"/>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651072" y="3872921"/>
            <a:ext cx="790110" cy="389274"/>
          </a:xfrm>
          <a:prstGeom prst="rect">
            <a:avLst/>
          </a:prstGeom>
          <a:noFill/>
          <a:ln>
            <a:noFill/>
          </a:ln>
        </p:spPr>
      </p:pic>
      <p:pic>
        <p:nvPicPr>
          <p:cNvPr id="11" name="Picture 10">
            <a:extLst>
              <a:ext uri="{FF2B5EF4-FFF2-40B4-BE49-F238E27FC236}">
                <a16:creationId xmlns:a16="http://schemas.microsoft.com/office/drawing/2014/main" id="{740C7E6A-FE7D-336A-79DA-1A7634916140}"/>
              </a:ext>
            </a:extLst>
          </p:cNvPr>
          <p:cNvPicPr>
            <a:picLocks noChangeAspect="1"/>
          </p:cNvPicPr>
          <p:nvPr/>
        </p:nvPicPr>
        <p:blipFill>
          <a:blip r:embed="rId7"/>
          <a:stretch>
            <a:fillRect/>
          </a:stretch>
        </p:blipFill>
        <p:spPr>
          <a:xfrm>
            <a:off x="796249" y="2729294"/>
            <a:ext cx="483911" cy="489115"/>
          </a:xfrm>
          <a:prstGeom prst="rect">
            <a:avLst/>
          </a:prstGeom>
        </p:spPr>
      </p:pic>
      <p:pic>
        <p:nvPicPr>
          <p:cNvPr id="6" name="Picture 5">
            <a:extLst>
              <a:ext uri="{FF2B5EF4-FFF2-40B4-BE49-F238E27FC236}">
                <a16:creationId xmlns:a16="http://schemas.microsoft.com/office/drawing/2014/main" id="{F6B8D037-D089-CC9B-EBE6-7C5B3530B1D4}"/>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25503" y="1671882"/>
            <a:ext cx="841248" cy="372090"/>
          </a:xfrm>
          <a:prstGeom prst="rect">
            <a:avLst/>
          </a:prstGeom>
          <a:noFill/>
          <a:ln>
            <a:noFill/>
          </a:ln>
        </p:spPr>
      </p:pic>
    </p:spTree>
    <p:extLst>
      <p:ext uri="{BB962C8B-B14F-4D97-AF65-F5344CB8AC3E}">
        <p14:creationId xmlns:p14="http://schemas.microsoft.com/office/powerpoint/2010/main" val="21978679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Asia-Pacific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7</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313507063"/>
              </p:ext>
            </p:extLst>
          </p:nvPr>
        </p:nvGraphicFramePr>
        <p:xfrm>
          <a:off x="412315" y="1247612"/>
          <a:ext cx="8463619" cy="272016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n-APA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on Eurosport Asia</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1 - 12:30 – 14:00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2 - 15:30 – 19:30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8/4 23:45 on Eurosport Asia (CES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7713581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Austral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22/04 13:30 AEDT on 9Go!</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d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11:30 – 13:30 GMT on Eurosport India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Japan</a:t>
                      </a:r>
                      <a:endParaRPr lang="en-GB" sz="900" dirty="0">
                        <a:solidFill>
                          <a:schemeClr val="tx1"/>
                        </a:solidFill>
                        <a:latin typeface="Arial"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BS/C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J Sports 3 16/04 20:30 – 03:30</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Reruns on 17/04 14:00 and 26/04 23:00 on J Sports 3 </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27/04 22:30 and 11:05 18:00 on J Sport 3 (multiple repea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012035120"/>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6" name="Picture 15">
            <a:extLst>
              <a:ext uri="{FF2B5EF4-FFF2-40B4-BE49-F238E27FC236}">
                <a16:creationId xmlns:a16="http://schemas.microsoft.com/office/drawing/2014/main" id="{10B75AE2-7F98-42B1-B7A4-5B39C8299D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2211" y="3411538"/>
            <a:ext cx="708760" cy="389074"/>
          </a:xfrm>
          <a:prstGeom prst="rect">
            <a:avLst/>
          </a:prstGeom>
          <a:solidFill>
            <a:schemeClr val="bg1"/>
          </a:solidFill>
        </p:spPr>
      </p:pic>
      <p:pic>
        <p:nvPicPr>
          <p:cNvPr id="17" name="Picture 16">
            <a:extLst>
              <a:ext uri="{FF2B5EF4-FFF2-40B4-BE49-F238E27FC236}">
                <a16:creationId xmlns:a16="http://schemas.microsoft.com/office/drawing/2014/main" id="{076F0F44-3206-4EBB-BDD0-1B724C8672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009" y="1732758"/>
            <a:ext cx="1097595" cy="127553"/>
          </a:xfrm>
          <a:prstGeom prst="rect">
            <a:avLst/>
          </a:prstGeom>
        </p:spPr>
      </p:pic>
      <p:pic>
        <p:nvPicPr>
          <p:cNvPr id="19" name="Picture 18">
            <a:extLst>
              <a:ext uri="{FF2B5EF4-FFF2-40B4-BE49-F238E27FC236}">
                <a16:creationId xmlns:a16="http://schemas.microsoft.com/office/drawing/2014/main" id="{F3F5DBF6-DAAD-4169-8365-63EE26BDF8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793" y="2965644"/>
            <a:ext cx="1097595" cy="127553"/>
          </a:xfrm>
          <a:prstGeom prst="rect">
            <a:avLst/>
          </a:prstGeom>
        </p:spPr>
      </p:pic>
      <p:pic>
        <p:nvPicPr>
          <p:cNvPr id="1026" name="Picture 2">
            <a:extLst>
              <a:ext uri="{FF2B5EF4-FFF2-40B4-BE49-F238E27FC236}">
                <a16:creationId xmlns:a16="http://schemas.microsoft.com/office/drawing/2014/main" id="{61BE5E5B-FE6F-F980-FE96-78460C6588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0014" y="2231475"/>
            <a:ext cx="966590" cy="376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4610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Asia-Pacific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8</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726105383"/>
              </p:ext>
            </p:extLst>
          </p:nvPr>
        </p:nvGraphicFramePr>
        <p:xfrm>
          <a:off x="412315" y="1247612"/>
          <a:ext cx="8463619" cy="1404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New Zea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23:30 – 06:30, reruns of last two hours 17/04 12:00 - 14:00 and 19/04 17:00 - 19:00 on Sky Sport 5</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18/04 21:00-22:00 and 20/04 19:-20:00 on Sky Sport 5</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26994600"/>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Taiwa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in May (exact date/time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35104177"/>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21" name="Picture 4" descr="http://www.elta.tv/images/header/ELTA_logo.jpg">
            <a:extLst>
              <a:ext uri="{FF2B5EF4-FFF2-40B4-BE49-F238E27FC236}">
                <a16:creationId xmlns:a16="http://schemas.microsoft.com/office/drawing/2014/main" id="{81BC2975-46D7-45BA-BE72-90D478FA01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2104" y="2207205"/>
            <a:ext cx="706371" cy="380322"/>
          </a:xfrm>
          <a:prstGeom prst="rect">
            <a:avLst/>
          </a:prstGeom>
          <a:solidFill>
            <a:schemeClr val="bg1"/>
          </a:solidFill>
        </p:spPr>
      </p:pic>
      <p:pic>
        <p:nvPicPr>
          <p:cNvPr id="22" name="Picture 50" descr="Sky2013logo.png">
            <a:extLst>
              <a:ext uri="{FF2B5EF4-FFF2-40B4-BE49-F238E27FC236}">
                <a16:creationId xmlns:a16="http://schemas.microsoft.com/office/drawing/2014/main" id="{9A78B25B-BAAB-47C0-AC0B-15BA748A08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285" y="1631987"/>
            <a:ext cx="594677" cy="380322"/>
          </a:xfrm>
          <a:prstGeom prst="rect">
            <a:avLst/>
          </a:prstGeom>
          <a:solidFill>
            <a:schemeClr val="bg1"/>
          </a:solidFill>
        </p:spPr>
      </p:pic>
    </p:spTree>
    <p:extLst>
      <p:ext uri="{BB962C8B-B14F-4D97-AF65-F5344CB8AC3E}">
        <p14:creationId xmlns:p14="http://schemas.microsoft.com/office/powerpoint/2010/main" val="13289892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Americas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9</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565113743"/>
              </p:ext>
            </p:extLst>
          </p:nvPr>
        </p:nvGraphicFramePr>
        <p:xfrm>
          <a:off x="412315" y="1247612"/>
          <a:ext cx="8463619" cy="272016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solidFill>
                            <a:schemeClr val="tx1"/>
                          </a:solidFill>
                          <a:latin typeface="Arial" charset="0"/>
                        </a:rPr>
                        <a:t>Canada</a:t>
                      </a:r>
                      <a:endParaRPr lang="en-GB" sz="900" kern="1200" dirty="0">
                        <a:solidFill>
                          <a:schemeClr val="tx1"/>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kern="1200" dirty="0">
                          <a:solidFill>
                            <a:schemeClr val="tx2"/>
                          </a:solidFill>
                          <a:latin typeface="Arial" charset="0"/>
                          <a:ea typeface="+mn-ea"/>
                          <a:cs typeface="+mn-cs"/>
                        </a:rPr>
                        <a:t>Full race live 06:30-13:30 ET</a:t>
                      </a: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18300106"/>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kern="1200" dirty="0">
                          <a:solidFill>
                            <a:schemeClr val="tx1"/>
                          </a:solidFill>
                          <a:latin typeface="Arial" charset="0"/>
                          <a:ea typeface="+mn-ea"/>
                          <a:cs typeface="+mn-cs"/>
                        </a:rPr>
                        <a:t>US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show live on </a:t>
                      </a:r>
                      <a:r>
                        <a:rPr lang="en-GB" sz="900" b="1" kern="1200" dirty="0" err="1">
                          <a:solidFill>
                            <a:schemeClr val="tx2"/>
                          </a:solidFill>
                          <a:latin typeface="Arial" charset="0"/>
                          <a:ea typeface="+mn-ea"/>
                          <a:cs typeface="+mn-cs"/>
                        </a:rPr>
                        <a:t>Motortrend</a:t>
                      </a:r>
                      <a:r>
                        <a:rPr lang="en-GB" sz="900" b="1" kern="1200" dirty="0">
                          <a:solidFill>
                            <a:schemeClr val="tx2"/>
                          </a:solidFill>
                          <a:latin typeface="Arial" charset="0"/>
                          <a:ea typeface="+mn-ea"/>
                          <a:cs typeface="+mn-cs"/>
                        </a:rPr>
                        <a: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1 - first 90 min (including 30 min pre race coverage)</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Part 2 – last 90 min (including 30 min post race coverag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Mexico</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p>
                      <a:pPr marL="0" marR="0" lvl="0" indent="0" algn="ctr" defTabSz="685800" rtl="0" eaLnBrk="1" fontAlgn="auto" latinLnBrk="0" hangingPunct="1">
                        <a:lnSpc>
                          <a:spcPct val="100000"/>
                        </a:lnSpc>
                        <a:spcBef>
                          <a:spcPts val="0"/>
                        </a:spcBef>
                        <a:spcAft>
                          <a:spcPts val="0"/>
                        </a:spcAft>
                        <a:buClrTx/>
                        <a:buSzTx/>
                        <a:buFontTx/>
                        <a:buNone/>
                        <a:tabLst/>
                        <a:defRPr/>
                      </a:pPr>
                      <a:endParaRPr lang="en-GB" sz="9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Live on Fox Sports 3 MX</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1 – 04:55 to 07:0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2 – 09:00 to 11:3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date/time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Central &amp; South America Caribbean (excl. Mexico &amp; Brazi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Live on DirecTV Sports Channel 616 &amp; 1616</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1 – 07:55  to 10:0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2 – 12:00 to 14:30</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date/time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34680557"/>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5" name="Picture 443" descr="https://pmcdeadline2.files.wordpress.com/2018/11/motortrend-e1542136057557.jpg?w=300&amp;h=57&amp;crop=1">
            <a:extLst>
              <a:ext uri="{FF2B5EF4-FFF2-40B4-BE49-F238E27FC236}">
                <a16:creationId xmlns:a16="http://schemas.microsoft.com/office/drawing/2014/main" id="{134285A4-7FD2-4EA6-BC42-139800FD1B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1356" y="2326712"/>
            <a:ext cx="935949" cy="177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26" name="Picture 2" descr="Discovery Velocity - Wikipedia">
            <a:extLst>
              <a:ext uri="{FF2B5EF4-FFF2-40B4-BE49-F238E27FC236}">
                <a16:creationId xmlns:a16="http://schemas.microsoft.com/office/drawing/2014/main" id="{C95044DA-827E-4928-B430-9E1839EA0B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8803" y="1634583"/>
            <a:ext cx="626504" cy="37467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38A56179-1295-53DC-7571-7FB59FADDF42}"/>
              </a:ext>
            </a:extLst>
          </p:cNvPr>
          <p:cNvPicPr>
            <a:picLocks noChangeAspect="1"/>
          </p:cNvPicPr>
          <p:nvPr/>
        </p:nvPicPr>
        <p:blipFill>
          <a:blip r:embed="rId4" r:link="rId5" cstate="print">
            <a:extLst>
              <a:ext uri="{28A0092B-C50C-407E-A947-70E740481C1C}">
                <a14:useLocalDpi xmlns:a14="http://schemas.microsoft.com/office/drawing/2010/main" val="0"/>
              </a:ext>
            </a:extLst>
          </a:blip>
          <a:srcRect/>
          <a:stretch>
            <a:fillRect/>
          </a:stretch>
        </p:blipFill>
        <p:spPr bwMode="auto">
          <a:xfrm>
            <a:off x="470170" y="2679762"/>
            <a:ext cx="1145924" cy="644637"/>
          </a:xfrm>
          <a:prstGeom prst="rect">
            <a:avLst/>
          </a:prstGeom>
          <a:noFill/>
          <a:ln>
            <a:noFill/>
          </a:ln>
        </p:spPr>
      </p:pic>
      <p:pic>
        <p:nvPicPr>
          <p:cNvPr id="14" name="Picture 13">
            <a:extLst>
              <a:ext uri="{FF2B5EF4-FFF2-40B4-BE49-F238E27FC236}">
                <a16:creationId xmlns:a16="http://schemas.microsoft.com/office/drawing/2014/main" id="{67C9332B-44C3-649D-9066-0F2AA4661F3D}"/>
              </a:ext>
            </a:extLst>
          </p:cNvPr>
          <p:cNvPicPr>
            <a:picLocks noChangeAspect="1"/>
          </p:cNvPicPr>
          <p:nvPr/>
        </p:nvPicPr>
        <p:blipFill>
          <a:blip r:embed="rId6" r:link="rId7" cstate="print">
            <a:extLst>
              <a:ext uri="{28A0092B-C50C-407E-A947-70E740481C1C}">
                <a14:useLocalDpi xmlns:a14="http://schemas.microsoft.com/office/drawing/2010/main" val="0"/>
              </a:ext>
            </a:extLst>
          </a:blip>
          <a:srcRect/>
          <a:stretch>
            <a:fillRect/>
          </a:stretch>
        </p:blipFill>
        <p:spPr bwMode="auto">
          <a:xfrm>
            <a:off x="591356" y="3538957"/>
            <a:ext cx="864115" cy="364719"/>
          </a:xfrm>
          <a:prstGeom prst="rect">
            <a:avLst/>
          </a:prstGeom>
          <a:noFill/>
          <a:ln>
            <a:noFill/>
          </a:ln>
        </p:spPr>
      </p:pic>
    </p:spTree>
    <p:extLst>
      <p:ext uri="{BB962C8B-B14F-4D97-AF65-F5344CB8AC3E}">
        <p14:creationId xmlns:p14="http://schemas.microsoft.com/office/powerpoint/2010/main" val="39172946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hRNtJI7QZqlpPea65IJ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ioBjtZVSZG5b7h0sO7E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nqASQALhZGN7T1GnqLC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KhQy0miKFCjlP.DDdfD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i9IojMV4z6FSj2IqPCg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6SA.SR4X2kw8TzYskoo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1U2vk6iT3qXvZTcGzFwzA"/>
</p:tagLst>
</file>

<file path=ppt/theme/theme1.xml><?xml version="1.0" encoding="utf-8"?>
<a:theme xmlns:a="http://schemas.openxmlformats.org/drawingml/2006/main" name="Infront_PPT_Cover">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b="1" dirty="0" err="1" smtClean="0"/>
        </a:defPPr>
      </a:lstStyle>
    </a:txDef>
  </a:objectDefaults>
  <a:extraClrSchemeLst/>
  <a:custClrLst>
    <a:custClr name="INFRONT PURPLE">
      <a:srgbClr val="68658A"/>
    </a:custClr>
    <a:custClr name="INFRONT LIGHT BLUE">
      <a:srgbClr val="BAD1D7"/>
    </a:custClr>
    <a:custClr name="INFRONT LIGHT GREY">
      <a:srgbClr val="F5F5F4"/>
    </a:custClr>
  </a:custClrLst>
  <a:extLst>
    <a:ext uri="{05A4C25C-085E-4340-85A3-A5531E510DB2}">
      <thm15:themeFamily xmlns:thm15="http://schemas.microsoft.com/office/thememl/2012/main" name="PPT_Template_Infront_Final_Light.potx" id="{A3ADE75C-6963-4A82-B1FD-E4921C300C6F}" vid="{AF8D1960-03B9-40C8-9420-3914D893ADC4}"/>
    </a:ext>
  </a:extLst>
</a:theme>
</file>

<file path=ppt/theme/theme2.xml><?xml version="1.0" encoding="utf-8"?>
<a:theme xmlns:a="http://schemas.openxmlformats.org/drawingml/2006/main" name="Infront_PPT_Divider">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b="1" dirty="0" err="1" smtClean="0"/>
        </a:defPPr>
      </a:lstStyle>
    </a:txDef>
  </a:objectDefaults>
  <a:extraClrSchemeLst/>
  <a:custClrLst>
    <a:custClr name="INFRONT PURPLE">
      <a:srgbClr val="68658A"/>
    </a:custClr>
    <a:custClr name="INFRONT LIGHT BLUE">
      <a:srgbClr val="BAD1D7"/>
    </a:custClr>
    <a:custClr name="INFRONT LIGHT GREY">
      <a:srgbClr val="F5F5F4"/>
    </a:custClr>
  </a:custClrLst>
  <a:extLst>
    <a:ext uri="{05A4C25C-085E-4340-85A3-A5531E510DB2}">
      <thm15:themeFamily xmlns:thm15="http://schemas.microsoft.com/office/thememl/2012/main" name="PPT_Template_Infront_Final_Light.potx" id="{A3ADE75C-6963-4A82-B1FD-E4921C300C6F}" vid="{7FCC5F5D-D5E5-40D5-83A3-57F81C772556}"/>
    </a:ext>
  </a:extLst>
</a:theme>
</file>

<file path=ppt/theme/theme3.xml><?xml version="1.0" encoding="utf-8"?>
<a:theme xmlns:a="http://schemas.openxmlformats.org/drawingml/2006/main" name="Infront_PPT_Content">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b="1" dirty="0" err="1" smtClean="0"/>
        </a:defPPr>
      </a:lstStyle>
    </a:txDef>
  </a:objectDefaults>
  <a:extraClrSchemeLst/>
  <a:custClrLst>
    <a:custClr name="INFRONT PURPLE">
      <a:srgbClr val="68658A"/>
    </a:custClr>
    <a:custClr name="INFRONT LIGHT BLUE">
      <a:srgbClr val="BAD1D7"/>
    </a:custClr>
    <a:custClr name="INFRONT LIGHT GREY">
      <a:srgbClr val="F5F5F4"/>
    </a:custClr>
  </a:custClrLst>
  <a:extLst>
    <a:ext uri="{05A4C25C-085E-4340-85A3-A5531E510DB2}">
      <thm15:themeFamily xmlns:thm15="http://schemas.microsoft.com/office/thememl/2012/main" name="PPT_Template_Infront_Final_Light.potx" id="{A3ADE75C-6963-4A82-B1FD-E4921C300C6F}" vid="{FB6CEB5C-1105-4579-A158-D79A4BCD21DD}"/>
    </a:ext>
  </a:extLst>
</a:theme>
</file>

<file path=ppt/theme/theme4.xml><?xml version="1.0" encoding="utf-8"?>
<a:theme xmlns:a="http://schemas.openxmlformats.org/drawingml/2006/main" name="Office">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31C64F9CB1FD4C49AE5CC6DE8840D54F" ma:contentTypeVersion="2" ma:contentTypeDescription="Ein neues Dokument erstellen." ma:contentTypeScope="" ma:versionID="e2bb32476423a190f82a309aaac3e328">
  <xsd:schema xmlns:xsd="http://www.w3.org/2001/XMLSchema" xmlns:xs="http://www.w3.org/2001/XMLSchema" xmlns:p="http://schemas.microsoft.com/office/2006/metadata/properties" xmlns:ns2="fbe41b5e-7eb0-4f3c-83ec-18f3dffb662b" targetNamespace="http://schemas.microsoft.com/office/2006/metadata/properties" ma:root="true" ma:fieldsID="9c9c5b9b6b32468cfe09d51f5ecaaffd" ns2:_="">
    <xsd:import namespace="fbe41b5e-7eb0-4f3c-83ec-18f3dffb662b"/>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e41b5e-7eb0-4f3c-83ec-18f3dffb66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938E49E-9A93-40D6-AE79-ED5601C245F0}">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097F2998-EEC1-48AC-8234-3F65E7C468F5}">
  <ds:schemaRefs>
    <ds:schemaRef ds:uri="http://schemas.microsoft.com/sharepoint/v3/contenttype/forms"/>
  </ds:schemaRefs>
</ds:datastoreItem>
</file>

<file path=customXml/itemProps3.xml><?xml version="1.0" encoding="utf-8"?>
<ds:datastoreItem xmlns:ds="http://schemas.openxmlformats.org/officeDocument/2006/customXml" ds:itemID="{4333400E-9671-48EF-BCFB-CFA79CE644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e41b5e-7eb0-4f3c-83ec-18f3dffb662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_Template_Infront_Final_Light</Template>
  <TotalTime>0</TotalTime>
  <Words>1249</Words>
  <Application>Microsoft Office PowerPoint</Application>
  <PresentationFormat>On-screen Show (16:9)</PresentationFormat>
  <Paragraphs>345</Paragraphs>
  <Slides>15</Slides>
  <Notes>0</Notes>
  <HiddenSlides>0</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1" baseType="lpstr">
      <vt:lpstr>Arial</vt:lpstr>
      <vt:lpstr>Calibri</vt:lpstr>
      <vt:lpstr>Infront_PPT_Cover</vt:lpstr>
      <vt:lpstr>Infront_PPT_Divider</vt:lpstr>
      <vt:lpstr>Infront_PPT_Content</vt:lpstr>
      <vt:lpstr>think-cell Slide</vt:lpstr>
      <vt:lpstr>TV DISTRIBUTION: 6 Hours of  Portimão</vt:lpstr>
      <vt:lpstr>FIA WEC 2023 Broadcast Partners</vt:lpstr>
      <vt:lpstr>FIA WEC 2023 Broadcast Partners</vt:lpstr>
      <vt:lpstr>Pan-European Broadcasters</vt:lpstr>
      <vt:lpstr>European Broadcasters</vt:lpstr>
      <vt:lpstr>European Broadcasters</vt:lpstr>
      <vt:lpstr>Asia-Pacific Broadcasters</vt:lpstr>
      <vt:lpstr>Asia-Pacific Broadcasters</vt:lpstr>
      <vt:lpstr>Americas Broadcasters</vt:lpstr>
      <vt:lpstr>Pan-African, MENA and Other Broadcasters</vt:lpstr>
      <vt:lpstr>Online Broadcasters</vt:lpstr>
      <vt:lpstr>Online Broadcasters - Europe</vt:lpstr>
      <vt:lpstr>Online Broadcasters - Asia-Pacific</vt:lpstr>
      <vt:lpstr>Online Broadcasters – Pan-regional</vt:lpstr>
      <vt:lpstr>Radio Broadcasters &amp; Other Medi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zemek Rembelski</dc:creator>
  <cp:lastModifiedBy>Elio Etienne</cp:lastModifiedBy>
  <cp:revision>178</cp:revision>
  <dcterms:created xsi:type="dcterms:W3CDTF">2021-10-15T10:38:32Z</dcterms:created>
  <dcterms:modified xsi:type="dcterms:W3CDTF">2023-04-06T13:4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C64F9CB1FD4C49AE5CC6DE8840D54F</vt:lpwstr>
  </property>
</Properties>
</file>